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91" r:id="rId2"/>
  </p:sldMasterIdLst>
  <p:notesMasterIdLst>
    <p:notesMasterId r:id="rId27"/>
  </p:notesMasterIdLst>
  <p:sldIdLst>
    <p:sldId id="397" r:id="rId3"/>
    <p:sldId id="398" r:id="rId4"/>
    <p:sldId id="298" r:id="rId5"/>
    <p:sldId id="399" r:id="rId6"/>
    <p:sldId id="370" r:id="rId7"/>
    <p:sldId id="400" r:id="rId8"/>
    <p:sldId id="371" r:id="rId9"/>
    <p:sldId id="402" r:id="rId10"/>
    <p:sldId id="403" r:id="rId11"/>
    <p:sldId id="404" r:id="rId12"/>
    <p:sldId id="303" r:id="rId13"/>
    <p:sldId id="344" r:id="rId14"/>
    <p:sldId id="342" r:id="rId15"/>
    <p:sldId id="343" r:id="rId16"/>
    <p:sldId id="350" r:id="rId17"/>
    <p:sldId id="347" r:id="rId18"/>
    <p:sldId id="345" r:id="rId19"/>
    <p:sldId id="305" r:id="rId20"/>
    <p:sldId id="405" r:id="rId21"/>
    <p:sldId id="349" r:id="rId22"/>
    <p:sldId id="302" r:id="rId23"/>
    <p:sldId id="351" r:id="rId24"/>
    <p:sldId id="423" r:id="rId25"/>
    <p:sldId id="422" r:id="rId26"/>
  </p:sldIdLst>
  <p:sldSz cx="9144000" cy="6858000" type="screen4x3"/>
  <p:notesSz cx="9144000" cy="6858000"/>
  <p:defaultTextStyle>
    <a:defPPr>
      <a:defRPr lang="zh-TW"/>
    </a:defPPr>
    <a:lvl1pPr marL="0" algn="l" defTabSz="9139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958" algn="l" defTabSz="9139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916" algn="l" defTabSz="9139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874" algn="l" defTabSz="9139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832" algn="l" defTabSz="9139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789" algn="l" defTabSz="9139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748" algn="l" defTabSz="9139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706" algn="l" defTabSz="9139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663" algn="l" defTabSz="91391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  <a:srgbClr val="003366"/>
    <a:srgbClr val="006666"/>
    <a:srgbClr val="000000"/>
    <a:srgbClr val="009999"/>
    <a:srgbClr val="CC6600"/>
    <a:srgbClr val="666633"/>
    <a:srgbClr val="A50021"/>
    <a:srgbClr val="CC0066"/>
    <a:srgbClr val="33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0727" autoAdjust="0"/>
  </p:normalViewPr>
  <p:slideViewPr>
    <p:cSldViewPr>
      <p:cViewPr>
        <p:scale>
          <a:sx n="90" d="100"/>
          <a:sy n="90" d="100"/>
        </p:scale>
        <p:origin x="-720" y="276"/>
      </p:cViewPr>
      <p:guideLst>
        <p:guide orient="horz" pos="240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A9A0F-B80F-49CA-8A5F-D9396E26ABFA}" type="datetimeFigureOut">
              <a:rPr lang="zh-TW" altLang="en-US" smtClean="0"/>
              <a:t>2019/11/18</a:t>
            </a:fld>
            <a:endParaRPr lang="zh-TW" altLang="en-US"/>
          </a:p>
        </p:txBody>
      </p:sp>
      <p:sp>
        <p:nvSpPr>
          <p:cNvPr id="4" name="投影片圖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118091-2E88-4D34-8E2F-5D9BD99A679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599065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118091-2E88-4D34-8E2F-5D9BD99A679D}" type="slidenum">
              <a:rPr lang="zh-TW" altLang="en-US" smtClean="0">
                <a:solidFill>
                  <a:prstClr val="black"/>
                </a:solidFill>
              </a:rPr>
              <a:pPr/>
              <a:t>6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5869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118091-2E88-4D34-8E2F-5D9BD99A679D}" type="slidenum">
              <a:rPr lang="zh-TW" altLang="en-US" smtClean="0"/>
              <a:t>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895869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118091-2E88-4D34-8E2F-5D9BD99A679D}" type="slidenum">
              <a:rPr lang="zh-TW" altLang="en-US" smtClean="0">
                <a:solidFill>
                  <a:prstClr val="black"/>
                </a:solidFill>
              </a:rPr>
              <a:pPr/>
              <a:t>8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5869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118091-2E88-4D34-8E2F-5D9BD99A679D}" type="slidenum">
              <a:rPr lang="zh-TW" altLang="en-US" smtClean="0">
                <a:solidFill>
                  <a:prstClr val="black"/>
                </a:solidFill>
              </a:rPr>
              <a:pPr/>
              <a:t>9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5869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118091-2E88-4D34-8E2F-5D9BD99A679D}" type="slidenum">
              <a:rPr lang="zh-TW" altLang="en-US" smtClean="0">
                <a:solidFill>
                  <a:prstClr val="black"/>
                </a:solidFill>
              </a:rPr>
              <a:pPr/>
              <a:t>10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586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3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D5EB5-BF80-4FDF-863E-B9678F3E036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C9484-FCBE-4235-924D-7CC96B35A762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23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D5EB5-BF80-4FDF-863E-B9678F3E036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C9484-FCBE-4235-924D-7CC96B35A762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2933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D5EB5-BF80-4FDF-863E-B9678F3E036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C9484-FCBE-4235-924D-7CC96B35A762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6922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6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1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146EC-C22F-4106-A2B4-35F342677555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E28CA-0A33-4109-BA46-167202EB9045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8947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146EC-C22F-4106-A2B4-35F342677555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E28CA-0A33-4109-BA46-167202EB9045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0886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8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7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6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51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3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2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14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0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146EC-C22F-4106-A2B4-35F342677555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E28CA-0A33-4109-BA46-167202EB9045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93814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146EC-C22F-4106-A2B4-35F342677555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E28CA-0A33-4109-BA46-167202EB9045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9369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77" indent="0">
              <a:buNone/>
              <a:defRPr sz="2000" b="1"/>
            </a:lvl2pPr>
            <a:lvl3pPr marL="913755" indent="0">
              <a:buNone/>
              <a:defRPr sz="1800" b="1"/>
            </a:lvl3pPr>
            <a:lvl4pPr marL="1370632" indent="0">
              <a:buNone/>
              <a:defRPr sz="1600" b="1"/>
            </a:lvl4pPr>
            <a:lvl5pPr marL="1827510" indent="0">
              <a:buNone/>
              <a:defRPr sz="1600" b="1"/>
            </a:lvl5pPr>
            <a:lvl6pPr marL="2284386" indent="0">
              <a:buNone/>
              <a:defRPr sz="1600" b="1"/>
            </a:lvl6pPr>
            <a:lvl7pPr marL="2741264" indent="0">
              <a:buNone/>
              <a:defRPr sz="1600" b="1"/>
            </a:lvl7pPr>
            <a:lvl8pPr marL="3198142" indent="0">
              <a:buNone/>
              <a:defRPr sz="1600" b="1"/>
            </a:lvl8pPr>
            <a:lvl9pPr marL="365501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77" indent="0">
              <a:buNone/>
              <a:defRPr sz="2000" b="1"/>
            </a:lvl2pPr>
            <a:lvl3pPr marL="913755" indent="0">
              <a:buNone/>
              <a:defRPr sz="1800" b="1"/>
            </a:lvl3pPr>
            <a:lvl4pPr marL="1370632" indent="0">
              <a:buNone/>
              <a:defRPr sz="1600" b="1"/>
            </a:lvl4pPr>
            <a:lvl5pPr marL="1827510" indent="0">
              <a:buNone/>
              <a:defRPr sz="1600" b="1"/>
            </a:lvl5pPr>
            <a:lvl6pPr marL="2284386" indent="0">
              <a:buNone/>
              <a:defRPr sz="1600" b="1"/>
            </a:lvl6pPr>
            <a:lvl7pPr marL="2741264" indent="0">
              <a:buNone/>
              <a:defRPr sz="1600" b="1"/>
            </a:lvl7pPr>
            <a:lvl8pPr marL="3198142" indent="0">
              <a:buNone/>
              <a:defRPr sz="1600" b="1"/>
            </a:lvl8pPr>
            <a:lvl9pPr marL="3655018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日期版面配置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146EC-C22F-4106-A2B4-35F342677555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頁尾版面配置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投影片編號版面配置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E28CA-0A33-4109-BA46-167202EB9045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9230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146EC-C22F-4106-A2B4-35F342677555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E28CA-0A33-4109-BA46-167202EB9045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9330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146EC-C22F-4106-A2B4-35F342677555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E28CA-0A33-4109-BA46-167202EB9045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1264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4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77" indent="0">
              <a:buNone/>
              <a:defRPr sz="1200"/>
            </a:lvl2pPr>
            <a:lvl3pPr marL="913755" indent="0">
              <a:buNone/>
              <a:defRPr sz="1000"/>
            </a:lvl3pPr>
            <a:lvl4pPr marL="1370632" indent="0">
              <a:buNone/>
              <a:defRPr sz="900"/>
            </a:lvl4pPr>
            <a:lvl5pPr marL="1827510" indent="0">
              <a:buNone/>
              <a:defRPr sz="900"/>
            </a:lvl5pPr>
            <a:lvl6pPr marL="2284386" indent="0">
              <a:buNone/>
              <a:defRPr sz="900"/>
            </a:lvl6pPr>
            <a:lvl7pPr marL="2741264" indent="0">
              <a:buNone/>
              <a:defRPr sz="900"/>
            </a:lvl7pPr>
            <a:lvl8pPr marL="3198142" indent="0">
              <a:buNone/>
              <a:defRPr sz="900"/>
            </a:lvl8pPr>
            <a:lvl9pPr marL="365501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146EC-C22F-4106-A2B4-35F342677555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E28CA-0A33-4109-BA46-167202EB9045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1736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D5EB5-BF80-4FDF-863E-B9678F3E036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C9484-FCBE-4235-924D-7CC96B35A762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0329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877" indent="0">
              <a:buNone/>
              <a:defRPr sz="2800"/>
            </a:lvl2pPr>
            <a:lvl3pPr marL="913755" indent="0">
              <a:buNone/>
              <a:defRPr sz="2400"/>
            </a:lvl3pPr>
            <a:lvl4pPr marL="1370632" indent="0">
              <a:buNone/>
              <a:defRPr sz="2000"/>
            </a:lvl4pPr>
            <a:lvl5pPr marL="1827510" indent="0">
              <a:buNone/>
              <a:defRPr sz="2000"/>
            </a:lvl5pPr>
            <a:lvl6pPr marL="2284386" indent="0">
              <a:buNone/>
              <a:defRPr sz="2000"/>
            </a:lvl6pPr>
            <a:lvl7pPr marL="2741264" indent="0">
              <a:buNone/>
              <a:defRPr sz="2000"/>
            </a:lvl7pPr>
            <a:lvl8pPr marL="3198142" indent="0">
              <a:buNone/>
              <a:defRPr sz="2000"/>
            </a:lvl8pPr>
            <a:lvl9pPr marL="3655018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77" indent="0">
              <a:buNone/>
              <a:defRPr sz="1200"/>
            </a:lvl2pPr>
            <a:lvl3pPr marL="913755" indent="0">
              <a:buNone/>
              <a:defRPr sz="1000"/>
            </a:lvl3pPr>
            <a:lvl4pPr marL="1370632" indent="0">
              <a:buNone/>
              <a:defRPr sz="900"/>
            </a:lvl4pPr>
            <a:lvl5pPr marL="1827510" indent="0">
              <a:buNone/>
              <a:defRPr sz="900"/>
            </a:lvl5pPr>
            <a:lvl6pPr marL="2284386" indent="0">
              <a:buNone/>
              <a:defRPr sz="900"/>
            </a:lvl6pPr>
            <a:lvl7pPr marL="2741264" indent="0">
              <a:buNone/>
              <a:defRPr sz="900"/>
            </a:lvl7pPr>
            <a:lvl8pPr marL="3198142" indent="0">
              <a:buNone/>
              <a:defRPr sz="900"/>
            </a:lvl8pPr>
            <a:lvl9pPr marL="3655018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146EC-C22F-4106-A2B4-35F342677555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E28CA-0A33-4109-BA46-167202EB9045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0337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146EC-C22F-4106-A2B4-35F342677555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E28CA-0A33-4109-BA46-167202EB9045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410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42"/>
            <a:ext cx="2057400" cy="5851525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146EC-C22F-4106-A2B4-35F342677555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E28CA-0A33-4109-BA46-167202EB9045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118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9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9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8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8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7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7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7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66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D5EB5-BF80-4FDF-863E-B9678F3E036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C9484-FCBE-4235-924D-7CC96B35A762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36993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D5EB5-BF80-4FDF-863E-B9678F3E036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C9484-FCBE-4235-924D-7CC96B35A762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3948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58" indent="0">
              <a:buNone/>
              <a:defRPr sz="2000" b="1"/>
            </a:lvl2pPr>
            <a:lvl3pPr marL="913916" indent="0">
              <a:buNone/>
              <a:defRPr sz="1800" b="1"/>
            </a:lvl3pPr>
            <a:lvl4pPr marL="1370874" indent="0">
              <a:buNone/>
              <a:defRPr sz="1600" b="1"/>
            </a:lvl4pPr>
            <a:lvl5pPr marL="1827832" indent="0">
              <a:buNone/>
              <a:defRPr sz="1600" b="1"/>
            </a:lvl5pPr>
            <a:lvl6pPr marL="2284789" indent="0">
              <a:buNone/>
              <a:defRPr sz="1600" b="1"/>
            </a:lvl6pPr>
            <a:lvl7pPr marL="2741748" indent="0">
              <a:buNone/>
              <a:defRPr sz="1600" b="1"/>
            </a:lvl7pPr>
            <a:lvl8pPr marL="3198706" indent="0">
              <a:buNone/>
              <a:defRPr sz="1600" b="1"/>
            </a:lvl8pPr>
            <a:lvl9pPr marL="3655663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58" indent="0">
              <a:buNone/>
              <a:defRPr sz="2000" b="1"/>
            </a:lvl2pPr>
            <a:lvl3pPr marL="913916" indent="0">
              <a:buNone/>
              <a:defRPr sz="1800" b="1"/>
            </a:lvl3pPr>
            <a:lvl4pPr marL="1370874" indent="0">
              <a:buNone/>
              <a:defRPr sz="1600" b="1"/>
            </a:lvl4pPr>
            <a:lvl5pPr marL="1827832" indent="0">
              <a:buNone/>
              <a:defRPr sz="1600" b="1"/>
            </a:lvl5pPr>
            <a:lvl6pPr marL="2284789" indent="0">
              <a:buNone/>
              <a:defRPr sz="1600" b="1"/>
            </a:lvl6pPr>
            <a:lvl7pPr marL="2741748" indent="0">
              <a:buNone/>
              <a:defRPr sz="1600" b="1"/>
            </a:lvl7pPr>
            <a:lvl8pPr marL="3198706" indent="0">
              <a:buNone/>
              <a:defRPr sz="1600" b="1"/>
            </a:lvl8pPr>
            <a:lvl9pPr marL="3655663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日期版面配置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D5EB5-BF80-4FDF-863E-B9678F3E036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頁尾版面配置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投影片編號版面配置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C9484-FCBE-4235-924D-7CC96B35A762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119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D5EB5-BF80-4FDF-863E-B9678F3E036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C9484-FCBE-4235-924D-7CC96B35A762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481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D5EB5-BF80-4FDF-863E-B9678F3E036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C9484-FCBE-4235-924D-7CC96B35A762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6168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4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958" indent="0">
              <a:buNone/>
              <a:defRPr sz="1200"/>
            </a:lvl2pPr>
            <a:lvl3pPr marL="913916" indent="0">
              <a:buNone/>
              <a:defRPr sz="1000"/>
            </a:lvl3pPr>
            <a:lvl4pPr marL="1370874" indent="0">
              <a:buNone/>
              <a:defRPr sz="900"/>
            </a:lvl4pPr>
            <a:lvl5pPr marL="1827832" indent="0">
              <a:buNone/>
              <a:defRPr sz="900"/>
            </a:lvl5pPr>
            <a:lvl6pPr marL="2284789" indent="0">
              <a:buNone/>
              <a:defRPr sz="900"/>
            </a:lvl6pPr>
            <a:lvl7pPr marL="2741748" indent="0">
              <a:buNone/>
              <a:defRPr sz="900"/>
            </a:lvl7pPr>
            <a:lvl8pPr marL="3198706" indent="0">
              <a:buNone/>
              <a:defRPr sz="900"/>
            </a:lvl8pPr>
            <a:lvl9pPr marL="3655663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D5EB5-BF80-4FDF-863E-B9678F3E036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C9484-FCBE-4235-924D-7CC96B35A762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5462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958" indent="0">
              <a:buNone/>
              <a:defRPr sz="2800"/>
            </a:lvl2pPr>
            <a:lvl3pPr marL="913916" indent="0">
              <a:buNone/>
              <a:defRPr sz="2400"/>
            </a:lvl3pPr>
            <a:lvl4pPr marL="1370874" indent="0">
              <a:buNone/>
              <a:defRPr sz="2000"/>
            </a:lvl4pPr>
            <a:lvl5pPr marL="1827832" indent="0">
              <a:buNone/>
              <a:defRPr sz="2000"/>
            </a:lvl5pPr>
            <a:lvl6pPr marL="2284789" indent="0">
              <a:buNone/>
              <a:defRPr sz="2000"/>
            </a:lvl6pPr>
            <a:lvl7pPr marL="2741748" indent="0">
              <a:buNone/>
              <a:defRPr sz="2000"/>
            </a:lvl7pPr>
            <a:lvl8pPr marL="3198706" indent="0">
              <a:buNone/>
              <a:defRPr sz="2000"/>
            </a:lvl8pPr>
            <a:lvl9pPr marL="3655663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958" indent="0">
              <a:buNone/>
              <a:defRPr sz="1200"/>
            </a:lvl2pPr>
            <a:lvl3pPr marL="913916" indent="0">
              <a:buNone/>
              <a:defRPr sz="1000"/>
            </a:lvl3pPr>
            <a:lvl4pPr marL="1370874" indent="0">
              <a:buNone/>
              <a:defRPr sz="900"/>
            </a:lvl4pPr>
            <a:lvl5pPr marL="1827832" indent="0">
              <a:buNone/>
              <a:defRPr sz="900"/>
            </a:lvl5pPr>
            <a:lvl6pPr marL="2284789" indent="0">
              <a:buNone/>
              <a:defRPr sz="900"/>
            </a:lvl6pPr>
            <a:lvl7pPr marL="2741748" indent="0">
              <a:buNone/>
              <a:defRPr sz="900"/>
            </a:lvl7pPr>
            <a:lvl8pPr marL="3198706" indent="0">
              <a:buNone/>
              <a:defRPr sz="900"/>
            </a:lvl8pPr>
            <a:lvl9pPr marL="3655663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D5EB5-BF80-4FDF-863E-B9678F3E036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C9484-FCBE-4235-924D-7CC96B35A762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0634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392" tIns="45696" rIns="91392" bIns="45696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392" tIns="45696" rIns="91392" bIns="45696" rtlCol="0">
            <a:norm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457201" y="6356355"/>
            <a:ext cx="2133600" cy="365125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0D5EB5-BF80-4FDF-863E-B9678F3E0368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3124203" y="6356355"/>
            <a:ext cx="2895600" cy="365125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553200" y="6356355"/>
            <a:ext cx="2133600" cy="365125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EC9484-FCBE-4235-924D-7CC96B35A762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03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txStyles>
    <p:titleStyle>
      <a:lvl1pPr algn="ctr" defTabSz="913916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18" indent="-342718" algn="l" defTabSz="913916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557" indent="-285600" algn="l" defTabSz="913916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395" indent="-228479" algn="l" defTabSz="91391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353" indent="-228479" algn="l" defTabSz="913916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311" indent="-228479" algn="l" defTabSz="913916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269" indent="-228479" algn="l" defTabSz="9139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6" indent="-228479" algn="l" defTabSz="9139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5" indent="-228479" algn="l" defTabSz="9139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3" indent="-228479" algn="l" defTabSz="9139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58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6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4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8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6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3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376" tIns="45688" rIns="91376" bIns="45688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376" tIns="45688" rIns="91376" bIns="45688" rtlCol="0">
            <a:norm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457201" y="6356354"/>
            <a:ext cx="2133600" cy="365125"/>
          </a:xfrm>
          <a:prstGeom prst="rect">
            <a:avLst/>
          </a:prstGeom>
        </p:spPr>
        <p:txBody>
          <a:bodyPr vert="horz" lIns="91376" tIns="45688" rIns="91376" bIns="4568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755"/>
            <a:fld id="{7DA146EC-C22F-4106-A2B4-35F342677555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 defTabSz="913755"/>
              <a:t>2019/11/18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3124203" y="6356354"/>
            <a:ext cx="2895600" cy="365125"/>
          </a:xfrm>
          <a:prstGeom prst="rect">
            <a:avLst/>
          </a:prstGeom>
        </p:spPr>
        <p:txBody>
          <a:bodyPr vert="horz" lIns="91376" tIns="45688" rIns="91376" bIns="4568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755"/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 vert="horz" lIns="91376" tIns="45688" rIns="91376" bIns="4568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755"/>
            <a:fld id="{497E28CA-0A33-4109-BA46-167202EB9045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 defTabSz="913755"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57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ctr" defTabSz="91375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657" indent="-342657" algn="l" defTabSz="913755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426" indent="-285550" algn="l" defTabSz="913755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193" indent="-228439" algn="l" defTabSz="91375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071" indent="-228439" algn="l" defTabSz="91375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948" indent="-228439" algn="l" defTabSz="913755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826" indent="-228439" algn="l" defTabSz="9137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702" indent="-228439" algn="l" defTabSz="9137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580" indent="-228439" algn="l" defTabSz="9137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458" indent="-228439" algn="l" defTabSz="9137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77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55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32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10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86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64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142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018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microsoft.com/office/2007/relationships/hdphoto" Target="../media/hdphoto3.wdp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.png"/><Relationship Id="rId17" Type="http://schemas.microsoft.com/office/2007/relationships/hdphoto" Target="../media/hdphoto5.wdp"/><Relationship Id="rId2" Type="http://schemas.openxmlformats.org/officeDocument/2006/relationships/tags" Target="../tags/tag2.xml"/><Relationship Id="rId16" Type="http://schemas.openxmlformats.org/officeDocument/2006/relationships/image" Target="../media/image6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microsoft.com/office/2007/relationships/hdphoto" Target="../media/hdphoto2.wdp"/><Relationship Id="rId5" Type="http://schemas.openxmlformats.org/officeDocument/2006/relationships/tags" Target="../tags/tag5.xml"/><Relationship Id="rId15" Type="http://schemas.microsoft.com/office/2007/relationships/hdphoto" Target="../media/hdphoto4.wdp"/><Relationship Id="rId10" Type="http://schemas.openxmlformats.org/officeDocument/2006/relationships/image" Target="../media/image3.pn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hyperlink" Target="mailto:books@airiti.com" TargetMode="Externa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13582625-93F8-4A20-89AC-64074FB4302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40" t="4764" r="10703" b="20338"/>
          <a:stretch/>
        </p:blipFill>
        <p:spPr>
          <a:xfrm>
            <a:off x="-10881" y="6"/>
            <a:ext cx="9176657" cy="684847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3" y="0"/>
            <a:ext cx="9165772" cy="68580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5CAC578A-623B-41C0-8387-AB22C806A2B7}"/>
              </a:ext>
            </a:extLst>
          </p:cNvPr>
          <p:cNvGrpSpPr/>
          <p:nvPr/>
        </p:nvGrpSpPr>
        <p:grpSpPr>
          <a:xfrm>
            <a:off x="178865" y="332660"/>
            <a:ext cx="1316865" cy="324896"/>
            <a:chOff x="869452" y="-3368162"/>
            <a:chExt cx="7810998" cy="1445342"/>
          </a:xfrm>
        </p:grpSpPr>
        <p:sp>
          <p:nvSpPr>
            <p:cNvPr id="26" name="Oval 25">
              <a:extLst>
                <a:ext uri="{FF2B5EF4-FFF2-40B4-BE49-F238E27FC236}">
                  <a16:creationId xmlns="" xmlns:a16="http://schemas.microsoft.com/office/drawing/2014/main" id="{63FDD55A-FD41-4EEF-8D26-D607C54C3480}"/>
                </a:ext>
              </a:extLst>
            </p:cNvPr>
            <p:cNvSpPr/>
            <p:nvPr/>
          </p:nvSpPr>
          <p:spPr>
            <a:xfrm>
              <a:off x="869452" y="-3368162"/>
              <a:ext cx="1445342" cy="1445342"/>
            </a:xfrm>
            <a:prstGeom prst="ellipse">
              <a:avLst/>
            </a:prstGeom>
            <a:solidFill>
              <a:srgbClr val="0024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55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="" xmlns:a16="http://schemas.microsoft.com/office/drawing/2014/main" id="{12F0F404-F52F-4C73-915C-443CE0CCF829}"/>
                </a:ext>
              </a:extLst>
            </p:cNvPr>
            <p:cNvSpPr/>
            <p:nvPr/>
          </p:nvSpPr>
          <p:spPr>
            <a:xfrm>
              <a:off x="2991337" y="-3368162"/>
              <a:ext cx="1445342" cy="1445342"/>
            </a:xfrm>
            <a:prstGeom prst="ellipse">
              <a:avLst/>
            </a:prstGeom>
            <a:solidFill>
              <a:srgbClr val="0681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55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="" xmlns:a16="http://schemas.microsoft.com/office/drawing/2014/main" id="{386CA48B-058D-47D5-9F18-B2CA3C3163D2}"/>
                </a:ext>
              </a:extLst>
            </p:cNvPr>
            <p:cNvSpPr/>
            <p:nvPr/>
          </p:nvSpPr>
          <p:spPr>
            <a:xfrm>
              <a:off x="5113222" y="-3368162"/>
              <a:ext cx="1445342" cy="1445342"/>
            </a:xfrm>
            <a:prstGeom prst="ellipse">
              <a:avLst/>
            </a:prstGeom>
            <a:solidFill>
              <a:srgbClr val="45C2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55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="" xmlns:a16="http://schemas.microsoft.com/office/drawing/2014/main" id="{061868D8-0184-4920-939A-C9635B155BE5}"/>
                </a:ext>
              </a:extLst>
            </p:cNvPr>
            <p:cNvSpPr/>
            <p:nvPr/>
          </p:nvSpPr>
          <p:spPr>
            <a:xfrm>
              <a:off x="7235108" y="-3368162"/>
              <a:ext cx="1445342" cy="1445342"/>
            </a:xfrm>
            <a:prstGeom prst="ellipse">
              <a:avLst/>
            </a:prstGeom>
            <a:solidFill>
              <a:srgbClr val="BDE8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55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="" xmlns:a16="http://schemas.microsoft.com/office/drawing/2014/main" id="{68E650D7-8B00-4A62-A325-F03F3DB889B5}"/>
              </a:ext>
            </a:extLst>
          </p:cNvPr>
          <p:cNvGrpSpPr/>
          <p:nvPr/>
        </p:nvGrpSpPr>
        <p:grpSpPr>
          <a:xfrm>
            <a:off x="1820014" y="2525995"/>
            <a:ext cx="5504007" cy="2134692"/>
            <a:chOff x="2407631" y="2785062"/>
            <a:chExt cx="7338678" cy="2134692"/>
          </a:xfrm>
        </p:grpSpPr>
        <p:sp>
          <p:nvSpPr>
            <p:cNvPr id="54" name="TextBox 53">
              <a:extLst>
                <a:ext uri="{FF2B5EF4-FFF2-40B4-BE49-F238E27FC236}">
                  <a16:creationId xmlns="" xmlns:a16="http://schemas.microsoft.com/office/drawing/2014/main" id="{44A23744-D77C-42C9-9123-02987EB3A91C}"/>
                </a:ext>
              </a:extLst>
            </p:cNvPr>
            <p:cNvSpPr txBox="1"/>
            <p:nvPr/>
          </p:nvSpPr>
          <p:spPr>
            <a:xfrm>
              <a:off x="2407631" y="2785062"/>
              <a:ext cx="7338678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3755"/>
              <a:r>
                <a:rPr lang="en-US" sz="4400" b="1" spc="300" dirty="0" err="1" smtClean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iRead</a:t>
              </a:r>
              <a:r>
                <a:rPr lang="en-US" sz="4400" b="1" spc="300" dirty="0" smtClean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eBooks</a:t>
              </a:r>
              <a:r>
                <a:rPr lang="zh-TW" altLang="en-US" sz="4400" b="1" spc="300" dirty="0" smtClean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平台</a:t>
              </a:r>
              <a:endParaRPr lang="en-US" sz="4400" b="1" spc="300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="" xmlns:a16="http://schemas.microsoft.com/office/drawing/2014/main" id="{AFF9DFF5-3FCA-4D5F-89E8-7EAD527841B2}"/>
                </a:ext>
              </a:extLst>
            </p:cNvPr>
            <p:cNvSpPr txBox="1"/>
            <p:nvPr/>
          </p:nvSpPr>
          <p:spPr>
            <a:xfrm>
              <a:off x="4196931" y="3904091"/>
              <a:ext cx="3760005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3755">
                <a:lnSpc>
                  <a:spcPct val="150000"/>
                </a:lnSpc>
              </a:pPr>
              <a:r>
                <a:rPr lang="en-US" altLang="zh-TW" sz="2000" b="1" spc="300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19 </a:t>
              </a:r>
              <a:r>
                <a:rPr lang="zh-TW" altLang="en-US" sz="2000" b="1" spc="300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產品使用說明</a:t>
              </a:r>
            </a:p>
            <a:p>
              <a:pPr algn="ctr" defTabSz="913755">
                <a:lnSpc>
                  <a:spcPct val="150000"/>
                </a:lnSpc>
              </a:pPr>
              <a:r>
                <a:rPr lang="en-US" altLang="zh-TW" sz="2000" b="1" spc="300" dirty="0" smtClean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19 </a:t>
              </a:r>
              <a:r>
                <a:rPr lang="en-US" altLang="zh-TW" sz="2000" b="1" spc="300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User Guide</a:t>
              </a: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="" xmlns:a16="http://schemas.microsoft.com/office/drawing/2014/main" id="{D3D017D1-9B42-4963-8502-47952533B93E}"/>
                </a:ext>
              </a:extLst>
            </p:cNvPr>
            <p:cNvCxnSpPr/>
            <p:nvPr/>
          </p:nvCxnSpPr>
          <p:spPr>
            <a:xfrm>
              <a:off x="3951375" y="3688067"/>
              <a:ext cx="425114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Freeform 9">
            <a:extLst>
              <a:ext uri="{FF2B5EF4-FFF2-40B4-BE49-F238E27FC236}">
                <a16:creationId xmlns="" xmlns:a16="http://schemas.microsoft.com/office/drawing/2014/main" id="{774CFFF1-0D07-4ED1-B59A-071B59A1FFEA}"/>
              </a:ext>
            </a:extLst>
          </p:cNvPr>
          <p:cNvSpPr>
            <a:spLocks/>
          </p:cNvSpPr>
          <p:nvPr/>
        </p:nvSpPr>
        <p:spPr bwMode="auto">
          <a:xfrm>
            <a:off x="3848100" y="5"/>
            <a:ext cx="5317672" cy="3540351"/>
          </a:xfrm>
          <a:custGeom>
            <a:avLst/>
            <a:gdLst>
              <a:gd name="T0" fmla="*/ 0 w 7680"/>
              <a:gd name="T1" fmla="*/ 0 h 1850"/>
              <a:gd name="T2" fmla="*/ 2319 w 7680"/>
              <a:gd name="T3" fmla="*/ 713 h 1850"/>
              <a:gd name="T4" fmla="*/ 7680 w 7680"/>
              <a:gd name="T5" fmla="*/ 1850 h 1850"/>
              <a:gd name="T6" fmla="*/ 7680 w 7680"/>
              <a:gd name="T7" fmla="*/ 0 h 1850"/>
              <a:gd name="T8" fmla="*/ 0 w 7680"/>
              <a:gd name="T9" fmla="*/ 0 h 1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80" h="1850">
                <a:moveTo>
                  <a:pt x="0" y="0"/>
                </a:moveTo>
                <a:cubicBezTo>
                  <a:pt x="0" y="0"/>
                  <a:pt x="649" y="713"/>
                  <a:pt x="2319" y="713"/>
                </a:cubicBezTo>
                <a:cubicBezTo>
                  <a:pt x="5172" y="713"/>
                  <a:pt x="4900" y="1850"/>
                  <a:pt x="7680" y="1850"/>
                </a:cubicBezTo>
                <a:cubicBezTo>
                  <a:pt x="7680" y="0"/>
                  <a:pt x="7680" y="0"/>
                  <a:pt x="7680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chemeClr val="bg1">
                  <a:alpha val="1000"/>
                </a:schemeClr>
              </a:gs>
              <a:gs pos="0">
                <a:schemeClr val="bg1">
                  <a:alpha val="21000"/>
                </a:schemeClr>
              </a:gs>
            </a:gsLst>
            <a:lin ang="8400000" scaled="0"/>
            <a:tileRect/>
          </a:gra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91376" tIns="45688" rIns="91376" bIns="45688" numCol="1" anchor="t" anchorCtr="0" compatLnSpc="1">
            <a:prstTxWarp prst="textNoShape">
              <a:avLst/>
            </a:prstTxWarp>
          </a:bodyPr>
          <a:lstStyle/>
          <a:p>
            <a:pPr defTabSz="913755"/>
            <a:endParaRPr lang="en-US">
              <a:solidFill>
                <a:prstClr val="black"/>
              </a:solidFill>
            </a:endParaRPr>
          </a:p>
        </p:txBody>
      </p:sp>
      <p:sp>
        <p:nvSpPr>
          <p:cNvPr id="62" name="Freeform 9">
            <a:extLst>
              <a:ext uri="{FF2B5EF4-FFF2-40B4-BE49-F238E27FC236}">
                <a16:creationId xmlns="" xmlns:a16="http://schemas.microsoft.com/office/drawing/2014/main" id="{A58753A7-50CE-43FD-8337-9B132EAD17C5}"/>
              </a:ext>
            </a:extLst>
          </p:cNvPr>
          <p:cNvSpPr>
            <a:spLocks/>
          </p:cNvSpPr>
          <p:nvPr/>
        </p:nvSpPr>
        <p:spPr bwMode="auto">
          <a:xfrm rot="10800000">
            <a:off x="1" y="3317653"/>
            <a:ext cx="5317672" cy="3540351"/>
          </a:xfrm>
          <a:custGeom>
            <a:avLst/>
            <a:gdLst>
              <a:gd name="T0" fmla="*/ 0 w 7680"/>
              <a:gd name="T1" fmla="*/ 0 h 1850"/>
              <a:gd name="T2" fmla="*/ 2319 w 7680"/>
              <a:gd name="T3" fmla="*/ 713 h 1850"/>
              <a:gd name="T4" fmla="*/ 7680 w 7680"/>
              <a:gd name="T5" fmla="*/ 1850 h 1850"/>
              <a:gd name="T6" fmla="*/ 7680 w 7680"/>
              <a:gd name="T7" fmla="*/ 0 h 1850"/>
              <a:gd name="T8" fmla="*/ 0 w 7680"/>
              <a:gd name="T9" fmla="*/ 0 h 1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80" h="1850">
                <a:moveTo>
                  <a:pt x="0" y="0"/>
                </a:moveTo>
                <a:cubicBezTo>
                  <a:pt x="0" y="0"/>
                  <a:pt x="649" y="713"/>
                  <a:pt x="2319" y="713"/>
                </a:cubicBezTo>
                <a:cubicBezTo>
                  <a:pt x="5172" y="713"/>
                  <a:pt x="4900" y="1850"/>
                  <a:pt x="7680" y="1850"/>
                </a:cubicBezTo>
                <a:cubicBezTo>
                  <a:pt x="7680" y="0"/>
                  <a:pt x="7680" y="0"/>
                  <a:pt x="7680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chemeClr val="bg1">
                  <a:alpha val="1000"/>
                </a:schemeClr>
              </a:gs>
              <a:gs pos="0">
                <a:schemeClr val="bg1">
                  <a:alpha val="21000"/>
                </a:schemeClr>
              </a:gs>
            </a:gsLst>
            <a:lin ang="8400000" scaled="0"/>
            <a:tileRect/>
          </a:gra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91376" tIns="45688" rIns="91376" bIns="45688" numCol="1" anchor="t" anchorCtr="0" compatLnSpc="1">
            <a:prstTxWarp prst="textNoShape">
              <a:avLst/>
            </a:prstTxWarp>
          </a:bodyPr>
          <a:lstStyle/>
          <a:p>
            <a:pPr defTabSz="913755"/>
            <a:endParaRPr lang="en-US">
              <a:solidFill>
                <a:prstClr val="black"/>
              </a:solidFill>
            </a:endParaRPr>
          </a:p>
        </p:txBody>
      </p:sp>
      <p:pic>
        <p:nvPicPr>
          <p:cNvPr id="18" name="Picture 2" descr="http://www.airiti.com/tw/One-Page/assets/img/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534" y="5877320"/>
            <a:ext cx="1140923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6986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>
              <a:solidFill>
                <a:prstClr val="black"/>
              </a:solidFill>
            </a:endParaRPr>
          </a:p>
        </p:txBody>
      </p:sp>
      <p:sp>
        <p:nvSpPr>
          <p:cNvPr id="17" name="標題 2"/>
          <p:cNvSpPr txBox="1">
            <a:spLocks/>
          </p:cNvSpPr>
          <p:nvPr/>
        </p:nvSpPr>
        <p:spPr>
          <a:xfrm>
            <a:off x="2514600" y="228600"/>
            <a:ext cx="5029200" cy="914400"/>
          </a:xfrm>
          <a:prstGeom prst="rect">
            <a:avLst/>
          </a:prstGeom>
        </p:spPr>
        <p:txBody>
          <a:bodyPr vert="horz" lIns="91392" tIns="45696" rIns="91392" bIns="45696" rtlCol="0" anchor="ctr">
            <a:normAutofit/>
          </a:bodyPr>
          <a:lstStyle>
            <a:lvl1pPr algn="ctr" defTabSz="913916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TW" altLang="en-US" sz="3600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註冊登入</a:t>
            </a:r>
            <a:endParaRPr lang="zh-TW" altLang="en-US" sz="2800" dirty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9" name="Freeform 3447">
            <a:extLst>
              <a:ext uri="{FF2B5EF4-FFF2-40B4-BE49-F238E27FC236}">
                <a16:creationId xmlns="" xmlns:a16="http://schemas.microsoft.com/office/drawing/2014/main" id="{4F188ED1-C7AA-4888-83A0-9D55EBA024AE}"/>
              </a:ext>
            </a:extLst>
          </p:cNvPr>
          <p:cNvSpPr>
            <a:spLocks noEditPoints="1"/>
          </p:cNvSpPr>
          <p:nvPr/>
        </p:nvSpPr>
        <p:spPr bwMode="auto">
          <a:xfrm>
            <a:off x="1777800" y="457200"/>
            <a:ext cx="432000" cy="432000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23" name="直線接點 22"/>
          <p:cNvCxnSpPr/>
          <p:nvPr/>
        </p:nvCxnSpPr>
        <p:spPr>
          <a:xfrm>
            <a:off x="323532" y="2332855"/>
            <a:ext cx="3334068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字方塊 24"/>
          <p:cNvSpPr txBox="1"/>
          <p:nvPr/>
        </p:nvSpPr>
        <p:spPr>
          <a:xfrm>
            <a:off x="456517" y="1371600"/>
            <a:ext cx="1723420" cy="1015598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000" b="1" dirty="0" smtClean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ep4</a:t>
            </a:r>
            <a:endParaRPr lang="en-US" altLang="zh-TW" sz="2000" b="1" dirty="0">
              <a:solidFill>
                <a:srgbClr val="00206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sz="20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電子資源</a:t>
            </a:r>
            <a:endParaRPr lang="zh-TW" altLang="en-US" sz="20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81000" y="2590800"/>
            <a:ext cx="3276600" cy="381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13" name="文字方塊 12"/>
          <p:cNvSpPr txBox="1"/>
          <p:nvPr/>
        </p:nvSpPr>
        <p:spPr>
          <a:xfrm>
            <a:off x="380010" y="2650945"/>
            <a:ext cx="3277590" cy="4062586"/>
          </a:xfrm>
          <a:prstGeom prst="rect">
            <a:avLst/>
          </a:prstGeom>
          <a:noFill/>
        </p:spPr>
        <p:txBody>
          <a:bodyPr wrap="square" lIns="91376" tIns="45688" rIns="91376" bIns="4568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權限綁定完成後</a:t>
            </a:r>
            <a:r>
              <a:rPr lang="zh-TW" altLang="en-US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即完成</a:t>
            </a:r>
            <a:r>
              <a:rPr lang="en-US" altLang="zh-TW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iriti</a:t>
            </a:r>
            <a:r>
              <a:rPr lang="zh-TW" altLang="en-US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帳號註冊，您可：</a:t>
            </a:r>
            <a:endParaRPr lang="en-US" altLang="zh-TW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登</a:t>
            </a:r>
            <a:r>
              <a:rPr lang="zh-TW" altLang="en-US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入</a:t>
            </a:r>
            <a:r>
              <a:rPr lang="en-US" altLang="zh-TW" sz="1600" dirty="0" err="1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iRead</a:t>
            </a:r>
            <a:r>
              <a:rPr lang="en-US" altLang="zh-TW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 eBooks</a:t>
            </a:r>
            <a:r>
              <a:rPr lang="zh-TW" altLang="en-US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首頁使用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圖書館館</a:t>
            </a:r>
            <a:r>
              <a:rPr lang="zh-TW" altLang="en-US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藏</a:t>
            </a:r>
            <a:endParaRPr lang="en-US" altLang="zh-TW" sz="1600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登入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Airiti </a:t>
            </a:r>
            <a:r>
              <a:rPr lang="en-US" altLang="zh-TW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Reader</a:t>
            </a:r>
            <a:r>
              <a:rPr lang="zh-TW" altLang="en-US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PP</a:t>
            </a:r>
            <a:r>
              <a:rPr lang="zh-TW" altLang="en-US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檢索電子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資源</a:t>
            </a:r>
            <a:endParaRPr lang="en-US" altLang="zh-TW" sz="1600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登入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a</a:t>
            </a:r>
            <a:r>
              <a:rPr lang="en-US" altLang="zh-TW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iriti Library</a:t>
            </a:r>
            <a:r>
              <a:rPr lang="zh-TW" altLang="en-US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首頁檢索電子</a:t>
            </a:r>
            <a:r>
              <a:rPr lang="zh-TW" altLang="en-US" sz="16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資源</a:t>
            </a:r>
            <a:endParaRPr lang="en-US" altLang="zh-TW" sz="1600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文獻相似度檢測服務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8" name="Picture 2" descr="https://i.gyazo.com/10b156f43c8d03d31794621918dee7e6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9"/>
          <a:stretch/>
        </p:blipFill>
        <p:spPr bwMode="auto">
          <a:xfrm>
            <a:off x="4048088" y="1981200"/>
            <a:ext cx="4791112" cy="180000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https://i.gyazo.com/dd85fbd16569ea1ab81cc8017a3cac34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7809" y="4267200"/>
            <a:ext cx="4331669" cy="180000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矩形 20"/>
          <p:cNvSpPr/>
          <p:nvPr/>
        </p:nvSpPr>
        <p:spPr>
          <a:xfrm>
            <a:off x="5572087" y="3276600"/>
            <a:ext cx="1676401" cy="432000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24" name="直線單箭頭接點 23"/>
          <p:cNvCxnSpPr>
            <a:stCxn id="18" idx="2"/>
            <a:endCxn id="20" idx="0"/>
          </p:cNvCxnSpPr>
          <p:nvPr/>
        </p:nvCxnSpPr>
        <p:spPr>
          <a:xfrm>
            <a:off x="6443644" y="3781200"/>
            <a:ext cx="0" cy="486000"/>
          </a:xfrm>
          <a:prstGeom prst="straightConnector1">
            <a:avLst/>
          </a:prstGeom>
          <a:ln w="19050">
            <a:solidFill>
              <a:srgbClr val="FF5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87124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0" y="1543051"/>
            <a:ext cx="9144000" cy="53149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" name="標題 2"/>
          <p:cNvSpPr>
            <a:spLocks noGrp="1"/>
          </p:cNvSpPr>
          <p:nvPr>
            <p:ph type="ctrTitle"/>
          </p:nvPr>
        </p:nvSpPr>
        <p:spPr>
          <a:xfrm>
            <a:off x="2388293" y="192006"/>
            <a:ext cx="5029200" cy="914400"/>
          </a:xfrm>
        </p:spPr>
        <p:txBody>
          <a:bodyPr>
            <a:normAutofit/>
          </a:bodyPr>
          <a:lstStyle/>
          <a:p>
            <a:pPr algn="l"/>
            <a:r>
              <a:rPr lang="zh-TW" altLang="en-US" sz="36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功能說明</a:t>
            </a:r>
            <a:endParaRPr lang="zh-TW" altLang="en-US" sz="32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/>
          </a:p>
        </p:txBody>
      </p:sp>
      <p:cxnSp>
        <p:nvCxnSpPr>
          <p:cNvPr id="10" name="直線接點 9"/>
          <p:cNvCxnSpPr/>
          <p:nvPr/>
        </p:nvCxnSpPr>
        <p:spPr>
          <a:xfrm>
            <a:off x="0" y="1543051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4" name="Picture 4" descr="https://i.gyazo.com/3ceb07cce93575670ed26a7e9dd8dbf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617" y="1572600"/>
            <a:ext cx="7094668" cy="528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矩形 1"/>
          <p:cNvSpPr/>
          <p:nvPr/>
        </p:nvSpPr>
        <p:spPr>
          <a:xfrm>
            <a:off x="6781801" y="1862447"/>
            <a:ext cx="1271384" cy="2880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3" name="矩形 12"/>
          <p:cNvSpPr/>
          <p:nvPr/>
        </p:nvSpPr>
        <p:spPr>
          <a:xfrm>
            <a:off x="1014616" y="1752600"/>
            <a:ext cx="1271384" cy="5760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4" name="矩形 13"/>
          <p:cNvSpPr/>
          <p:nvPr/>
        </p:nvSpPr>
        <p:spPr>
          <a:xfrm>
            <a:off x="2819400" y="4800600"/>
            <a:ext cx="5105400" cy="19812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5" name="矩形 14"/>
          <p:cNvSpPr/>
          <p:nvPr/>
        </p:nvSpPr>
        <p:spPr>
          <a:xfrm>
            <a:off x="5073316" y="2447400"/>
            <a:ext cx="3003884" cy="3720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6" name="矩形 15"/>
          <p:cNvSpPr/>
          <p:nvPr/>
        </p:nvSpPr>
        <p:spPr>
          <a:xfrm>
            <a:off x="65674" y="1752600"/>
            <a:ext cx="772527" cy="576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單位</a:t>
            </a:r>
            <a:r>
              <a:rPr lang="en-US" altLang="zh-TW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logo</a:t>
            </a:r>
            <a:endParaRPr lang="zh-TW" altLang="en-US" sz="14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8153400" y="1998000"/>
            <a:ext cx="914400" cy="288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單位</a:t>
            </a:r>
            <a:r>
              <a:rPr lang="zh-TW" altLang="en-US" sz="1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名稱</a:t>
            </a:r>
          </a:p>
        </p:txBody>
      </p:sp>
      <p:sp>
        <p:nvSpPr>
          <p:cNvPr id="18" name="矩形 17"/>
          <p:cNvSpPr/>
          <p:nvPr/>
        </p:nvSpPr>
        <p:spPr>
          <a:xfrm>
            <a:off x="8153400" y="2438400"/>
            <a:ext cx="914400" cy="64715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一般、進階查詢</a:t>
            </a:r>
            <a:endParaRPr lang="zh-TW" altLang="en-US" sz="14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8001000" y="4800600"/>
            <a:ext cx="1090816" cy="13716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首頁書架：</a:t>
            </a:r>
            <a:endParaRPr lang="en-US" altLang="zh-TW" sz="1400" b="1" dirty="0" smtClean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PDA</a:t>
            </a:r>
          </a:p>
          <a:p>
            <a:r>
              <a:rPr lang="zh-TW" altLang="en-US" sz="1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館</a:t>
            </a:r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藏</a:t>
            </a:r>
            <a:endParaRPr lang="en-US" altLang="zh-TW" sz="1400" b="1" dirty="0" smtClean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跨館借閱</a:t>
            </a:r>
            <a:endParaRPr lang="en-US" altLang="zh-TW" sz="1400" b="1" dirty="0" smtClean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自訂</a:t>
            </a:r>
          </a:p>
        </p:txBody>
      </p:sp>
      <p:sp>
        <p:nvSpPr>
          <p:cNvPr id="21" name="矩形 20"/>
          <p:cNvSpPr/>
          <p:nvPr/>
        </p:nvSpPr>
        <p:spPr>
          <a:xfrm>
            <a:off x="990600" y="3543300"/>
            <a:ext cx="1752600" cy="32385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2" name="矩形 21"/>
          <p:cNvSpPr/>
          <p:nvPr/>
        </p:nvSpPr>
        <p:spPr>
          <a:xfrm>
            <a:off x="65674" y="3524496"/>
            <a:ext cx="772527" cy="818904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書籍、學科分類</a:t>
            </a:r>
            <a:endParaRPr lang="zh-TW" altLang="en-US" sz="14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4724401" y="1608600"/>
            <a:ext cx="3328784" cy="253847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4" name="矩形 23"/>
          <p:cNvSpPr/>
          <p:nvPr/>
        </p:nvSpPr>
        <p:spPr>
          <a:xfrm>
            <a:off x="8153400" y="1617000"/>
            <a:ext cx="914400" cy="288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功能列</a:t>
            </a:r>
            <a:endParaRPr lang="zh-TW" altLang="en-US" sz="14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7" name="Freeform 4777">
            <a:extLst>
              <a:ext uri="{FF2B5EF4-FFF2-40B4-BE49-F238E27FC236}">
                <a16:creationId xmlns="" xmlns:a16="http://schemas.microsoft.com/office/drawing/2014/main" id="{8C2F6FD5-B324-40F5-B07F-DCC3F9F9DA63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536856"/>
            <a:ext cx="396000" cy="288000"/>
          </a:xfrm>
          <a:custGeom>
            <a:avLst/>
            <a:gdLst>
              <a:gd name="T0" fmla="*/ 216 w 902"/>
              <a:gd name="T1" fmla="*/ 331 h 510"/>
              <a:gd name="T2" fmla="*/ 225 w 902"/>
              <a:gd name="T3" fmla="*/ 345 h 510"/>
              <a:gd name="T4" fmla="*/ 216 w 902"/>
              <a:gd name="T5" fmla="*/ 359 h 510"/>
              <a:gd name="T6" fmla="*/ 145 w 902"/>
              <a:gd name="T7" fmla="*/ 359 h 510"/>
              <a:gd name="T8" fmla="*/ 136 w 902"/>
              <a:gd name="T9" fmla="*/ 345 h 510"/>
              <a:gd name="T10" fmla="*/ 145 w 902"/>
              <a:gd name="T11" fmla="*/ 331 h 510"/>
              <a:gd name="T12" fmla="*/ 151 w 902"/>
              <a:gd name="T13" fmla="*/ 209 h 510"/>
              <a:gd name="T14" fmla="*/ 222 w 902"/>
              <a:gd name="T15" fmla="*/ 214 h 510"/>
              <a:gd name="T16" fmla="*/ 224 w 902"/>
              <a:gd name="T17" fmla="*/ 230 h 510"/>
              <a:gd name="T18" fmla="*/ 210 w 902"/>
              <a:gd name="T19" fmla="*/ 239 h 510"/>
              <a:gd name="T20" fmla="*/ 139 w 902"/>
              <a:gd name="T21" fmla="*/ 235 h 510"/>
              <a:gd name="T22" fmla="*/ 137 w 902"/>
              <a:gd name="T23" fmla="*/ 218 h 510"/>
              <a:gd name="T24" fmla="*/ 151 w 902"/>
              <a:gd name="T25" fmla="*/ 209 h 510"/>
              <a:gd name="T26" fmla="*/ 210 w 902"/>
              <a:gd name="T27" fmla="*/ 90 h 510"/>
              <a:gd name="T28" fmla="*/ 224 w 902"/>
              <a:gd name="T29" fmla="*/ 99 h 510"/>
              <a:gd name="T30" fmla="*/ 222 w 902"/>
              <a:gd name="T31" fmla="*/ 115 h 510"/>
              <a:gd name="T32" fmla="*/ 151 w 902"/>
              <a:gd name="T33" fmla="*/ 119 h 510"/>
              <a:gd name="T34" fmla="*/ 137 w 902"/>
              <a:gd name="T35" fmla="*/ 111 h 510"/>
              <a:gd name="T36" fmla="*/ 139 w 902"/>
              <a:gd name="T37" fmla="*/ 93 h 510"/>
              <a:gd name="T38" fmla="*/ 330 w 902"/>
              <a:gd name="T39" fmla="*/ 330 h 510"/>
              <a:gd name="T40" fmla="*/ 732 w 902"/>
              <a:gd name="T41" fmla="*/ 334 h 510"/>
              <a:gd name="T42" fmla="*/ 735 w 902"/>
              <a:gd name="T43" fmla="*/ 350 h 510"/>
              <a:gd name="T44" fmla="*/ 721 w 902"/>
              <a:gd name="T45" fmla="*/ 360 h 510"/>
              <a:gd name="T46" fmla="*/ 320 w 902"/>
              <a:gd name="T47" fmla="*/ 355 h 510"/>
              <a:gd name="T48" fmla="*/ 317 w 902"/>
              <a:gd name="T49" fmla="*/ 339 h 510"/>
              <a:gd name="T50" fmla="*/ 330 w 902"/>
              <a:gd name="T51" fmla="*/ 330 h 510"/>
              <a:gd name="T52" fmla="*/ 721 w 902"/>
              <a:gd name="T53" fmla="*/ 209 h 510"/>
              <a:gd name="T54" fmla="*/ 735 w 902"/>
              <a:gd name="T55" fmla="*/ 218 h 510"/>
              <a:gd name="T56" fmla="*/ 732 w 902"/>
              <a:gd name="T57" fmla="*/ 235 h 510"/>
              <a:gd name="T58" fmla="*/ 330 w 902"/>
              <a:gd name="T59" fmla="*/ 239 h 510"/>
              <a:gd name="T60" fmla="*/ 317 w 902"/>
              <a:gd name="T61" fmla="*/ 230 h 510"/>
              <a:gd name="T62" fmla="*/ 320 w 902"/>
              <a:gd name="T63" fmla="*/ 214 h 510"/>
              <a:gd name="T64" fmla="*/ 330 w 902"/>
              <a:gd name="T65" fmla="*/ 209 h 510"/>
              <a:gd name="T66" fmla="*/ 727 w 902"/>
              <a:gd name="T67" fmla="*/ 91 h 510"/>
              <a:gd name="T68" fmla="*/ 736 w 902"/>
              <a:gd name="T69" fmla="*/ 105 h 510"/>
              <a:gd name="T70" fmla="*/ 727 w 902"/>
              <a:gd name="T71" fmla="*/ 118 h 510"/>
              <a:gd name="T72" fmla="*/ 325 w 902"/>
              <a:gd name="T73" fmla="*/ 118 h 510"/>
              <a:gd name="T74" fmla="*/ 315 w 902"/>
              <a:gd name="T75" fmla="*/ 105 h 510"/>
              <a:gd name="T76" fmla="*/ 325 w 902"/>
              <a:gd name="T77" fmla="*/ 91 h 510"/>
              <a:gd name="T78" fmla="*/ 2 w 902"/>
              <a:gd name="T79" fmla="*/ 501 h 510"/>
              <a:gd name="T80" fmla="*/ 15 w 902"/>
              <a:gd name="T81" fmla="*/ 510 h 510"/>
              <a:gd name="T82" fmla="*/ 897 w 902"/>
              <a:gd name="T83" fmla="*/ 506 h 510"/>
              <a:gd name="T84" fmla="*/ 902 w 902"/>
              <a:gd name="T85" fmla="*/ 0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02" h="510">
                <a:moveTo>
                  <a:pt x="151" y="330"/>
                </a:moveTo>
                <a:lnTo>
                  <a:pt x="210" y="330"/>
                </a:lnTo>
                <a:lnTo>
                  <a:pt x="216" y="331"/>
                </a:lnTo>
                <a:lnTo>
                  <a:pt x="222" y="334"/>
                </a:lnTo>
                <a:lnTo>
                  <a:pt x="224" y="339"/>
                </a:lnTo>
                <a:lnTo>
                  <a:pt x="225" y="345"/>
                </a:lnTo>
                <a:lnTo>
                  <a:pt x="224" y="350"/>
                </a:lnTo>
                <a:lnTo>
                  <a:pt x="222" y="355"/>
                </a:lnTo>
                <a:lnTo>
                  <a:pt x="216" y="359"/>
                </a:lnTo>
                <a:lnTo>
                  <a:pt x="210" y="360"/>
                </a:lnTo>
                <a:lnTo>
                  <a:pt x="151" y="360"/>
                </a:lnTo>
                <a:lnTo>
                  <a:pt x="145" y="359"/>
                </a:lnTo>
                <a:lnTo>
                  <a:pt x="139" y="355"/>
                </a:lnTo>
                <a:lnTo>
                  <a:pt x="137" y="350"/>
                </a:lnTo>
                <a:lnTo>
                  <a:pt x="136" y="345"/>
                </a:lnTo>
                <a:lnTo>
                  <a:pt x="137" y="339"/>
                </a:lnTo>
                <a:lnTo>
                  <a:pt x="139" y="334"/>
                </a:lnTo>
                <a:lnTo>
                  <a:pt x="145" y="331"/>
                </a:lnTo>
                <a:lnTo>
                  <a:pt x="151" y="330"/>
                </a:lnTo>
                <a:lnTo>
                  <a:pt x="151" y="330"/>
                </a:lnTo>
                <a:close/>
                <a:moveTo>
                  <a:pt x="151" y="209"/>
                </a:moveTo>
                <a:lnTo>
                  <a:pt x="210" y="209"/>
                </a:lnTo>
                <a:lnTo>
                  <a:pt x="216" y="210"/>
                </a:lnTo>
                <a:lnTo>
                  <a:pt x="222" y="214"/>
                </a:lnTo>
                <a:lnTo>
                  <a:pt x="224" y="218"/>
                </a:lnTo>
                <a:lnTo>
                  <a:pt x="225" y="224"/>
                </a:lnTo>
                <a:lnTo>
                  <a:pt x="224" y="230"/>
                </a:lnTo>
                <a:lnTo>
                  <a:pt x="222" y="235"/>
                </a:lnTo>
                <a:lnTo>
                  <a:pt x="216" y="238"/>
                </a:lnTo>
                <a:lnTo>
                  <a:pt x="210" y="239"/>
                </a:lnTo>
                <a:lnTo>
                  <a:pt x="151" y="239"/>
                </a:lnTo>
                <a:lnTo>
                  <a:pt x="145" y="238"/>
                </a:lnTo>
                <a:lnTo>
                  <a:pt x="139" y="235"/>
                </a:lnTo>
                <a:lnTo>
                  <a:pt x="137" y="230"/>
                </a:lnTo>
                <a:lnTo>
                  <a:pt x="136" y="224"/>
                </a:lnTo>
                <a:lnTo>
                  <a:pt x="137" y="218"/>
                </a:lnTo>
                <a:lnTo>
                  <a:pt x="139" y="214"/>
                </a:lnTo>
                <a:lnTo>
                  <a:pt x="145" y="210"/>
                </a:lnTo>
                <a:lnTo>
                  <a:pt x="151" y="209"/>
                </a:lnTo>
                <a:lnTo>
                  <a:pt x="151" y="209"/>
                </a:lnTo>
                <a:close/>
                <a:moveTo>
                  <a:pt x="151" y="90"/>
                </a:moveTo>
                <a:lnTo>
                  <a:pt x="210" y="90"/>
                </a:lnTo>
                <a:lnTo>
                  <a:pt x="216" y="91"/>
                </a:lnTo>
                <a:lnTo>
                  <a:pt x="222" y="93"/>
                </a:lnTo>
                <a:lnTo>
                  <a:pt x="224" y="99"/>
                </a:lnTo>
                <a:lnTo>
                  <a:pt x="225" y="105"/>
                </a:lnTo>
                <a:lnTo>
                  <a:pt x="224" y="111"/>
                </a:lnTo>
                <a:lnTo>
                  <a:pt x="222" y="115"/>
                </a:lnTo>
                <a:lnTo>
                  <a:pt x="216" y="118"/>
                </a:lnTo>
                <a:lnTo>
                  <a:pt x="210" y="120"/>
                </a:lnTo>
                <a:lnTo>
                  <a:pt x="151" y="119"/>
                </a:lnTo>
                <a:lnTo>
                  <a:pt x="145" y="118"/>
                </a:lnTo>
                <a:lnTo>
                  <a:pt x="139" y="115"/>
                </a:lnTo>
                <a:lnTo>
                  <a:pt x="137" y="111"/>
                </a:lnTo>
                <a:lnTo>
                  <a:pt x="136" y="105"/>
                </a:lnTo>
                <a:lnTo>
                  <a:pt x="137" y="99"/>
                </a:lnTo>
                <a:lnTo>
                  <a:pt x="139" y="93"/>
                </a:lnTo>
                <a:lnTo>
                  <a:pt x="145" y="91"/>
                </a:lnTo>
                <a:lnTo>
                  <a:pt x="151" y="90"/>
                </a:lnTo>
                <a:close/>
                <a:moveTo>
                  <a:pt x="330" y="330"/>
                </a:moveTo>
                <a:lnTo>
                  <a:pt x="721" y="330"/>
                </a:lnTo>
                <a:lnTo>
                  <a:pt x="727" y="331"/>
                </a:lnTo>
                <a:lnTo>
                  <a:pt x="732" y="334"/>
                </a:lnTo>
                <a:lnTo>
                  <a:pt x="735" y="339"/>
                </a:lnTo>
                <a:lnTo>
                  <a:pt x="736" y="345"/>
                </a:lnTo>
                <a:lnTo>
                  <a:pt x="735" y="350"/>
                </a:lnTo>
                <a:lnTo>
                  <a:pt x="732" y="355"/>
                </a:lnTo>
                <a:lnTo>
                  <a:pt x="727" y="359"/>
                </a:lnTo>
                <a:lnTo>
                  <a:pt x="721" y="360"/>
                </a:lnTo>
                <a:lnTo>
                  <a:pt x="330" y="360"/>
                </a:lnTo>
                <a:lnTo>
                  <a:pt x="325" y="359"/>
                </a:lnTo>
                <a:lnTo>
                  <a:pt x="320" y="355"/>
                </a:lnTo>
                <a:lnTo>
                  <a:pt x="317" y="350"/>
                </a:lnTo>
                <a:lnTo>
                  <a:pt x="315" y="345"/>
                </a:lnTo>
                <a:lnTo>
                  <a:pt x="317" y="339"/>
                </a:lnTo>
                <a:lnTo>
                  <a:pt x="320" y="334"/>
                </a:lnTo>
                <a:lnTo>
                  <a:pt x="325" y="331"/>
                </a:lnTo>
                <a:lnTo>
                  <a:pt x="330" y="330"/>
                </a:lnTo>
                <a:lnTo>
                  <a:pt x="330" y="330"/>
                </a:lnTo>
                <a:close/>
                <a:moveTo>
                  <a:pt x="330" y="209"/>
                </a:moveTo>
                <a:lnTo>
                  <a:pt x="721" y="209"/>
                </a:lnTo>
                <a:lnTo>
                  <a:pt x="727" y="210"/>
                </a:lnTo>
                <a:lnTo>
                  <a:pt x="732" y="214"/>
                </a:lnTo>
                <a:lnTo>
                  <a:pt x="735" y="218"/>
                </a:lnTo>
                <a:lnTo>
                  <a:pt x="736" y="224"/>
                </a:lnTo>
                <a:lnTo>
                  <a:pt x="735" y="230"/>
                </a:lnTo>
                <a:lnTo>
                  <a:pt x="732" y="235"/>
                </a:lnTo>
                <a:lnTo>
                  <a:pt x="727" y="238"/>
                </a:lnTo>
                <a:lnTo>
                  <a:pt x="721" y="239"/>
                </a:lnTo>
                <a:lnTo>
                  <a:pt x="330" y="239"/>
                </a:lnTo>
                <a:lnTo>
                  <a:pt x="325" y="238"/>
                </a:lnTo>
                <a:lnTo>
                  <a:pt x="320" y="235"/>
                </a:lnTo>
                <a:lnTo>
                  <a:pt x="317" y="230"/>
                </a:lnTo>
                <a:lnTo>
                  <a:pt x="315" y="224"/>
                </a:lnTo>
                <a:lnTo>
                  <a:pt x="317" y="218"/>
                </a:lnTo>
                <a:lnTo>
                  <a:pt x="320" y="214"/>
                </a:lnTo>
                <a:lnTo>
                  <a:pt x="325" y="210"/>
                </a:lnTo>
                <a:lnTo>
                  <a:pt x="330" y="209"/>
                </a:lnTo>
                <a:lnTo>
                  <a:pt x="330" y="209"/>
                </a:lnTo>
                <a:close/>
                <a:moveTo>
                  <a:pt x="330" y="90"/>
                </a:moveTo>
                <a:lnTo>
                  <a:pt x="721" y="90"/>
                </a:lnTo>
                <a:lnTo>
                  <a:pt x="727" y="91"/>
                </a:lnTo>
                <a:lnTo>
                  <a:pt x="732" y="93"/>
                </a:lnTo>
                <a:lnTo>
                  <a:pt x="735" y="99"/>
                </a:lnTo>
                <a:lnTo>
                  <a:pt x="736" y="105"/>
                </a:lnTo>
                <a:lnTo>
                  <a:pt x="735" y="111"/>
                </a:lnTo>
                <a:lnTo>
                  <a:pt x="732" y="115"/>
                </a:lnTo>
                <a:lnTo>
                  <a:pt x="727" y="118"/>
                </a:lnTo>
                <a:lnTo>
                  <a:pt x="721" y="120"/>
                </a:lnTo>
                <a:lnTo>
                  <a:pt x="330" y="119"/>
                </a:lnTo>
                <a:lnTo>
                  <a:pt x="325" y="118"/>
                </a:lnTo>
                <a:lnTo>
                  <a:pt x="320" y="115"/>
                </a:lnTo>
                <a:lnTo>
                  <a:pt x="317" y="111"/>
                </a:lnTo>
                <a:lnTo>
                  <a:pt x="315" y="105"/>
                </a:lnTo>
                <a:lnTo>
                  <a:pt x="317" y="99"/>
                </a:lnTo>
                <a:lnTo>
                  <a:pt x="320" y="93"/>
                </a:lnTo>
                <a:lnTo>
                  <a:pt x="325" y="91"/>
                </a:lnTo>
                <a:lnTo>
                  <a:pt x="330" y="90"/>
                </a:lnTo>
                <a:close/>
                <a:moveTo>
                  <a:pt x="0" y="495"/>
                </a:moveTo>
                <a:lnTo>
                  <a:pt x="2" y="501"/>
                </a:lnTo>
                <a:lnTo>
                  <a:pt x="5" y="506"/>
                </a:lnTo>
                <a:lnTo>
                  <a:pt x="10" y="509"/>
                </a:lnTo>
                <a:lnTo>
                  <a:pt x="15" y="510"/>
                </a:lnTo>
                <a:lnTo>
                  <a:pt x="886" y="510"/>
                </a:lnTo>
                <a:lnTo>
                  <a:pt x="892" y="509"/>
                </a:lnTo>
                <a:lnTo>
                  <a:pt x="897" y="506"/>
                </a:lnTo>
                <a:lnTo>
                  <a:pt x="900" y="501"/>
                </a:lnTo>
                <a:lnTo>
                  <a:pt x="902" y="495"/>
                </a:lnTo>
                <a:lnTo>
                  <a:pt x="902" y="0"/>
                </a:lnTo>
                <a:lnTo>
                  <a:pt x="0" y="0"/>
                </a:lnTo>
                <a:lnTo>
                  <a:pt x="0" y="4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/>
          </a:p>
        </p:txBody>
      </p:sp>
      <p:sp>
        <p:nvSpPr>
          <p:cNvPr id="28" name="Freeform 4776">
            <a:extLst>
              <a:ext uri="{FF2B5EF4-FFF2-40B4-BE49-F238E27FC236}">
                <a16:creationId xmlns="" xmlns:a16="http://schemas.microsoft.com/office/drawing/2014/main" id="{C8092ED1-DF13-4A88-9140-B942AF4CC42C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424036"/>
            <a:ext cx="396000" cy="72000"/>
          </a:xfrm>
          <a:custGeom>
            <a:avLst/>
            <a:gdLst>
              <a:gd name="T0" fmla="*/ 745 w 902"/>
              <a:gd name="T1" fmla="*/ 149 h 210"/>
              <a:gd name="T2" fmla="*/ 735 w 902"/>
              <a:gd name="T3" fmla="*/ 144 h 210"/>
              <a:gd name="T4" fmla="*/ 727 w 902"/>
              <a:gd name="T5" fmla="*/ 136 h 210"/>
              <a:gd name="T6" fmla="*/ 722 w 902"/>
              <a:gd name="T7" fmla="*/ 126 h 210"/>
              <a:gd name="T8" fmla="*/ 722 w 902"/>
              <a:gd name="T9" fmla="*/ 114 h 210"/>
              <a:gd name="T10" fmla="*/ 727 w 902"/>
              <a:gd name="T11" fmla="*/ 104 h 210"/>
              <a:gd name="T12" fmla="*/ 735 w 902"/>
              <a:gd name="T13" fmla="*/ 96 h 210"/>
              <a:gd name="T14" fmla="*/ 745 w 902"/>
              <a:gd name="T15" fmla="*/ 91 h 210"/>
              <a:gd name="T16" fmla="*/ 758 w 902"/>
              <a:gd name="T17" fmla="*/ 91 h 210"/>
              <a:gd name="T18" fmla="*/ 768 w 902"/>
              <a:gd name="T19" fmla="*/ 96 h 210"/>
              <a:gd name="T20" fmla="*/ 776 w 902"/>
              <a:gd name="T21" fmla="*/ 104 h 210"/>
              <a:gd name="T22" fmla="*/ 781 w 902"/>
              <a:gd name="T23" fmla="*/ 114 h 210"/>
              <a:gd name="T24" fmla="*/ 781 w 902"/>
              <a:gd name="T25" fmla="*/ 126 h 210"/>
              <a:gd name="T26" fmla="*/ 776 w 902"/>
              <a:gd name="T27" fmla="*/ 136 h 210"/>
              <a:gd name="T28" fmla="*/ 768 w 902"/>
              <a:gd name="T29" fmla="*/ 144 h 210"/>
              <a:gd name="T30" fmla="*/ 757 w 902"/>
              <a:gd name="T31" fmla="*/ 149 h 210"/>
              <a:gd name="T32" fmla="*/ 751 w 902"/>
              <a:gd name="T33" fmla="*/ 150 h 210"/>
              <a:gd name="T34" fmla="*/ 625 w 902"/>
              <a:gd name="T35" fmla="*/ 149 h 210"/>
              <a:gd name="T36" fmla="*/ 614 w 902"/>
              <a:gd name="T37" fmla="*/ 144 h 210"/>
              <a:gd name="T38" fmla="*/ 606 w 902"/>
              <a:gd name="T39" fmla="*/ 136 h 210"/>
              <a:gd name="T40" fmla="*/ 602 w 902"/>
              <a:gd name="T41" fmla="*/ 126 h 210"/>
              <a:gd name="T42" fmla="*/ 602 w 902"/>
              <a:gd name="T43" fmla="*/ 114 h 210"/>
              <a:gd name="T44" fmla="*/ 606 w 902"/>
              <a:gd name="T45" fmla="*/ 104 h 210"/>
              <a:gd name="T46" fmla="*/ 614 w 902"/>
              <a:gd name="T47" fmla="*/ 96 h 210"/>
              <a:gd name="T48" fmla="*/ 625 w 902"/>
              <a:gd name="T49" fmla="*/ 91 h 210"/>
              <a:gd name="T50" fmla="*/ 637 w 902"/>
              <a:gd name="T51" fmla="*/ 91 h 210"/>
              <a:gd name="T52" fmla="*/ 648 w 902"/>
              <a:gd name="T53" fmla="*/ 96 h 210"/>
              <a:gd name="T54" fmla="*/ 656 w 902"/>
              <a:gd name="T55" fmla="*/ 104 h 210"/>
              <a:gd name="T56" fmla="*/ 661 w 902"/>
              <a:gd name="T57" fmla="*/ 114 h 210"/>
              <a:gd name="T58" fmla="*/ 661 w 902"/>
              <a:gd name="T59" fmla="*/ 126 h 210"/>
              <a:gd name="T60" fmla="*/ 656 w 902"/>
              <a:gd name="T61" fmla="*/ 136 h 210"/>
              <a:gd name="T62" fmla="*/ 648 w 902"/>
              <a:gd name="T63" fmla="*/ 144 h 210"/>
              <a:gd name="T64" fmla="*/ 637 w 902"/>
              <a:gd name="T65" fmla="*/ 149 h 210"/>
              <a:gd name="T66" fmla="*/ 632 w 902"/>
              <a:gd name="T67" fmla="*/ 150 h 210"/>
              <a:gd name="T68" fmla="*/ 505 w 902"/>
              <a:gd name="T69" fmla="*/ 149 h 210"/>
              <a:gd name="T70" fmla="*/ 494 w 902"/>
              <a:gd name="T71" fmla="*/ 144 h 210"/>
              <a:gd name="T72" fmla="*/ 486 w 902"/>
              <a:gd name="T73" fmla="*/ 136 h 210"/>
              <a:gd name="T74" fmla="*/ 481 w 902"/>
              <a:gd name="T75" fmla="*/ 126 h 210"/>
              <a:gd name="T76" fmla="*/ 481 w 902"/>
              <a:gd name="T77" fmla="*/ 114 h 210"/>
              <a:gd name="T78" fmla="*/ 486 w 902"/>
              <a:gd name="T79" fmla="*/ 104 h 210"/>
              <a:gd name="T80" fmla="*/ 494 w 902"/>
              <a:gd name="T81" fmla="*/ 96 h 210"/>
              <a:gd name="T82" fmla="*/ 505 w 902"/>
              <a:gd name="T83" fmla="*/ 91 h 210"/>
              <a:gd name="T84" fmla="*/ 517 w 902"/>
              <a:gd name="T85" fmla="*/ 91 h 210"/>
              <a:gd name="T86" fmla="*/ 527 w 902"/>
              <a:gd name="T87" fmla="*/ 96 h 210"/>
              <a:gd name="T88" fmla="*/ 535 w 902"/>
              <a:gd name="T89" fmla="*/ 104 h 210"/>
              <a:gd name="T90" fmla="*/ 540 w 902"/>
              <a:gd name="T91" fmla="*/ 114 h 210"/>
              <a:gd name="T92" fmla="*/ 540 w 902"/>
              <a:gd name="T93" fmla="*/ 126 h 210"/>
              <a:gd name="T94" fmla="*/ 535 w 902"/>
              <a:gd name="T95" fmla="*/ 136 h 210"/>
              <a:gd name="T96" fmla="*/ 527 w 902"/>
              <a:gd name="T97" fmla="*/ 144 h 210"/>
              <a:gd name="T98" fmla="*/ 517 w 902"/>
              <a:gd name="T99" fmla="*/ 149 h 210"/>
              <a:gd name="T100" fmla="*/ 511 w 902"/>
              <a:gd name="T101" fmla="*/ 150 h 210"/>
              <a:gd name="T102" fmla="*/ 15 w 902"/>
              <a:gd name="T103" fmla="*/ 0 h 210"/>
              <a:gd name="T104" fmla="*/ 5 w 902"/>
              <a:gd name="T105" fmla="*/ 4 h 210"/>
              <a:gd name="T106" fmla="*/ 0 w 902"/>
              <a:gd name="T107" fmla="*/ 15 h 210"/>
              <a:gd name="T108" fmla="*/ 902 w 902"/>
              <a:gd name="T109" fmla="*/ 210 h 210"/>
              <a:gd name="T110" fmla="*/ 900 w 902"/>
              <a:gd name="T111" fmla="*/ 9 h 210"/>
              <a:gd name="T112" fmla="*/ 892 w 902"/>
              <a:gd name="T113" fmla="*/ 1 h 210"/>
              <a:gd name="T114" fmla="*/ 886 w 902"/>
              <a:gd name="T115" fmla="*/ 0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02" h="210">
                <a:moveTo>
                  <a:pt x="751" y="150"/>
                </a:moveTo>
                <a:lnTo>
                  <a:pt x="745" y="149"/>
                </a:lnTo>
                <a:lnTo>
                  <a:pt x="739" y="148"/>
                </a:lnTo>
                <a:lnTo>
                  <a:pt x="735" y="144"/>
                </a:lnTo>
                <a:lnTo>
                  <a:pt x="730" y="141"/>
                </a:lnTo>
                <a:lnTo>
                  <a:pt x="727" y="136"/>
                </a:lnTo>
                <a:lnTo>
                  <a:pt x="723" y="132"/>
                </a:lnTo>
                <a:lnTo>
                  <a:pt x="722" y="126"/>
                </a:lnTo>
                <a:lnTo>
                  <a:pt x="721" y="120"/>
                </a:lnTo>
                <a:lnTo>
                  <a:pt x="722" y="114"/>
                </a:lnTo>
                <a:lnTo>
                  <a:pt x="723" y="109"/>
                </a:lnTo>
                <a:lnTo>
                  <a:pt x="727" y="104"/>
                </a:lnTo>
                <a:lnTo>
                  <a:pt x="730" y="99"/>
                </a:lnTo>
                <a:lnTo>
                  <a:pt x="735" y="96"/>
                </a:lnTo>
                <a:lnTo>
                  <a:pt x="739" y="92"/>
                </a:lnTo>
                <a:lnTo>
                  <a:pt x="745" y="91"/>
                </a:lnTo>
                <a:lnTo>
                  <a:pt x="751" y="90"/>
                </a:lnTo>
                <a:lnTo>
                  <a:pt x="758" y="91"/>
                </a:lnTo>
                <a:lnTo>
                  <a:pt x="763" y="92"/>
                </a:lnTo>
                <a:lnTo>
                  <a:pt x="768" y="96"/>
                </a:lnTo>
                <a:lnTo>
                  <a:pt x="773" y="99"/>
                </a:lnTo>
                <a:lnTo>
                  <a:pt x="776" y="104"/>
                </a:lnTo>
                <a:lnTo>
                  <a:pt x="779" y="109"/>
                </a:lnTo>
                <a:lnTo>
                  <a:pt x="781" y="114"/>
                </a:lnTo>
                <a:lnTo>
                  <a:pt x="781" y="120"/>
                </a:lnTo>
                <a:lnTo>
                  <a:pt x="781" y="126"/>
                </a:lnTo>
                <a:lnTo>
                  <a:pt x="779" y="132"/>
                </a:lnTo>
                <a:lnTo>
                  <a:pt x="776" y="136"/>
                </a:lnTo>
                <a:lnTo>
                  <a:pt x="773" y="141"/>
                </a:lnTo>
                <a:lnTo>
                  <a:pt x="768" y="144"/>
                </a:lnTo>
                <a:lnTo>
                  <a:pt x="763" y="148"/>
                </a:lnTo>
                <a:lnTo>
                  <a:pt x="757" y="149"/>
                </a:lnTo>
                <a:lnTo>
                  <a:pt x="751" y="150"/>
                </a:lnTo>
                <a:lnTo>
                  <a:pt x="751" y="150"/>
                </a:lnTo>
                <a:close/>
                <a:moveTo>
                  <a:pt x="632" y="150"/>
                </a:moveTo>
                <a:lnTo>
                  <a:pt x="625" y="149"/>
                </a:lnTo>
                <a:lnTo>
                  <a:pt x="619" y="148"/>
                </a:lnTo>
                <a:lnTo>
                  <a:pt x="614" y="144"/>
                </a:lnTo>
                <a:lnTo>
                  <a:pt x="610" y="141"/>
                </a:lnTo>
                <a:lnTo>
                  <a:pt x="606" y="136"/>
                </a:lnTo>
                <a:lnTo>
                  <a:pt x="604" y="132"/>
                </a:lnTo>
                <a:lnTo>
                  <a:pt x="602" y="126"/>
                </a:lnTo>
                <a:lnTo>
                  <a:pt x="602" y="120"/>
                </a:lnTo>
                <a:lnTo>
                  <a:pt x="602" y="114"/>
                </a:lnTo>
                <a:lnTo>
                  <a:pt x="604" y="109"/>
                </a:lnTo>
                <a:lnTo>
                  <a:pt x="606" y="104"/>
                </a:lnTo>
                <a:lnTo>
                  <a:pt x="610" y="99"/>
                </a:lnTo>
                <a:lnTo>
                  <a:pt x="614" y="96"/>
                </a:lnTo>
                <a:lnTo>
                  <a:pt x="619" y="92"/>
                </a:lnTo>
                <a:lnTo>
                  <a:pt x="625" y="91"/>
                </a:lnTo>
                <a:lnTo>
                  <a:pt x="632" y="90"/>
                </a:lnTo>
                <a:lnTo>
                  <a:pt x="637" y="91"/>
                </a:lnTo>
                <a:lnTo>
                  <a:pt x="643" y="92"/>
                </a:lnTo>
                <a:lnTo>
                  <a:pt x="648" y="96"/>
                </a:lnTo>
                <a:lnTo>
                  <a:pt x="652" y="99"/>
                </a:lnTo>
                <a:lnTo>
                  <a:pt x="656" y="104"/>
                </a:lnTo>
                <a:lnTo>
                  <a:pt x="658" y="109"/>
                </a:lnTo>
                <a:lnTo>
                  <a:pt x="661" y="114"/>
                </a:lnTo>
                <a:lnTo>
                  <a:pt x="661" y="120"/>
                </a:lnTo>
                <a:lnTo>
                  <a:pt x="661" y="126"/>
                </a:lnTo>
                <a:lnTo>
                  <a:pt x="658" y="132"/>
                </a:lnTo>
                <a:lnTo>
                  <a:pt x="656" y="136"/>
                </a:lnTo>
                <a:lnTo>
                  <a:pt x="652" y="141"/>
                </a:lnTo>
                <a:lnTo>
                  <a:pt x="648" y="144"/>
                </a:lnTo>
                <a:lnTo>
                  <a:pt x="643" y="148"/>
                </a:lnTo>
                <a:lnTo>
                  <a:pt x="637" y="149"/>
                </a:lnTo>
                <a:lnTo>
                  <a:pt x="632" y="150"/>
                </a:lnTo>
                <a:lnTo>
                  <a:pt x="632" y="150"/>
                </a:lnTo>
                <a:close/>
                <a:moveTo>
                  <a:pt x="511" y="150"/>
                </a:moveTo>
                <a:lnTo>
                  <a:pt x="505" y="149"/>
                </a:lnTo>
                <a:lnTo>
                  <a:pt x="500" y="148"/>
                </a:lnTo>
                <a:lnTo>
                  <a:pt x="494" y="144"/>
                </a:lnTo>
                <a:lnTo>
                  <a:pt x="489" y="141"/>
                </a:lnTo>
                <a:lnTo>
                  <a:pt x="486" y="136"/>
                </a:lnTo>
                <a:lnTo>
                  <a:pt x="483" y="132"/>
                </a:lnTo>
                <a:lnTo>
                  <a:pt x="481" y="126"/>
                </a:lnTo>
                <a:lnTo>
                  <a:pt x="481" y="120"/>
                </a:lnTo>
                <a:lnTo>
                  <a:pt x="481" y="114"/>
                </a:lnTo>
                <a:lnTo>
                  <a:pt x="483" y="109"/>
                </a:lnTo>
                <a:lnTo>
                  <a:pt x="486" y="104"/>
                </a:lnTo>
                <a:lnTo>
                  <a:pt x="489" y="99"/>
                </a:lnTo>
                <a:lnTo>
                  <a:pt x="494" y="96"/>
                </a:lnTo>
                <a:lnTo>
                  <a:pt x="500" y="92"/>
                </a:lnTo>
                <a:lnTo>
                  <a:pt x="505" y="91"/>
                </a:lnTo>
                <a:lnTo>
                  <a:pt x="511" y="90"/>
                </a:lnTo>
                <a:lnTo>
                  <a:pt x="517" y="91"/>
                </a:lnTo>
                <a:lnTo>
                  <a:pt x="523" y="92"/>
                </a:lnTo>
                <a:lnTo>
                  <a:pt x="527" y="96"/>
                </a:lnTo>
                <a:lnTo>
                  <a:pt x="532" y="99"/>
                </a:lnTo>
                <a:lnTo>
                  <a:pt x="535" y="104"/>
                </a:lnTo>
                <a:lnTo>
                  <a:pt x="539" y="109"/>
                </a:lnTo>
                <a:lnTo>
                  <a:pt x="540" y="114"/>
                </a:lnTo>
                <a:lnTo>
                  <a:pt x="541" y="120"/>
                </a:lnTo>
                <a:lnTo>
                  <a:pt x="540" y="126"/>
                </a:lnTo>
                <a:lnTo>
                  <a:pt x="539" y="132"/>
                </a:lnTo>
                <a:lnTo>
                  <a:pt x="535" y="136"/>
                </a:lnTo>
                <a:lnTo>
                  <a:pt x="532" y="141"/>
                </a:lnTo>
                <a:lnTo>
                  <a:pt x="527" y="144"/>
                </a:lnTo>
                <a:lnTo>
                  <a:pt x="523" y="148"/>
                </a:lnTo>
                <a:lnTo>
                  <a:pt x="517" y="149"/>
                </a:lnTo>
                <a:lnTo>
                  <a:pt x="511" y="150"/>
                </a:lnTo>
                <a:lnTo>
                  <a:pt x="511" y="150"/>
                </a:lnTo>
                <a:close/>
                <a:moveTo>
                  <a:pt x="886" y="0"/>
                </a:moveTo>
                <a:lnTo>
                  <a:pt x="15" y="0"/>
                </a:lnTo>
                <a:lnTo>
                  <a:pt x="10" y="1"/>
                </a:lnTo>
                <a:lnTo>
                  <a:pt x="5" y="4"/>
                </a:lnTo>
                <a:lnTo>
                  <a:pt x="2" y="9"/>
                </a:lnTo>
                <a:lnTo>
                  <a:pt x="0" y="15"/>
                </a:lnTo>
                <a:lnTo>
                  <a:pt x="0" y="210"/>
                </a:lnTo>
                <a:lnTo>
                  <a:pt x="902" y="210"/>
                </a:lnTo>
                <a:lnTo>
                  <a:pt x="902" y="15"/>
                </a:lnTo>
                <a:lnTo>
                  <a:pt x="900" y="9"/>
                </a:lnTo>
                <a:lnTo>
                  <a:pt x="897" y="4"/>
                </a:lnTo>
                <a:lnTo>
                  <a:pt x="892" y="1"/>
                </a:lnTo>
                <a:lnTo>
                  <a:pt x="886" y="0"/>
                </a:lnTo>
                <a:lnTo>
                  <a:pt x="88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3480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標題 2"/>
          <p:cNvSpPr>
            <a:spLocks noGrp="1"/>
          </p:cNvSpPr>
          <p:nvPr>
            <p:ph type="ctrTitle"/>
          </p:nvPr>
        </p:nvSpPr>
        <p:spPr>
          <a:xfrm>
            <a:off x="2388293" y="192006"/>
            <a:ext cx="5029200" cy="914400"/>
          </a:xfrm>
        </p:spPr>
        <p:txBody>
          <a:bodyPr>
            <a:normAutofit/>
          </a:bodyPr>
          <a:lstStyle/>
          <a:p>
            <a:pPr algn="l"/>
            <a:r>
              <a:rPr lang="zh-TW" altLang="en-US" sz="36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功能說明</a:t>
            </a:r>
            <a:endParaRPr lang="zh-TW" altLang="en-US" sz="32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/>
          </a:p>
        </p:txBody>
      </p:sp>
      <p:sp>
        <p:nvSpPr>
          <p:cNvPr id="27" name="Freeform 4777">
            <a:extLst>
              <a:ext uri="{FF2B5EF4-FFF2-40B4-BE49-F238E27FC236}">
                <a16:creationId xmlns="" xmlns:a16="http://schemas.microsoft.com/office/drawing/2014/main" id="{8C2F6FD5-B324-40F5-B07F-DCC3F9F9DA63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536856"/>
            <a:ext cx="396000" cy="288000"/>
          </a:xfrm>
          <a:custGeom>
            <a:avLst/>
            <a:gdLst>
              <a:gd name="T0" fmla="*/ 216 w 902"/>
              <a:gd name="T1" fmla="*/ 331 h 510"/>
              <a:gd name="T2" fmla="*/ 225 w 902"/>
              <a:gd name="T3" fmla="*/ 345 h 510"/>
              <a:gd name="T4" fmla="*/ 216 w 902"/>
              <a:gd name="T5" fmla="*/ 359 h 510"/>
              <a:gd name="T6" fmla="*/ 145 w 902"/>
              <a:gd name="T7" fmla="*/ 359 h 510"/>
              <a:gd name="T8" fmla="*/ 136 w 902"/>
              <a:gd name="T9" fmla="*/ 345 h 510"/>
              <a:gd name="T10" fmla="*/ 145 w 902"/>
              <a:gd name="T11" fmla="*/ 331 h 510"/>
              <a:gd name="T12" fmla="*/ 151 w 902"/>
              <a:gd name="T13" fmla="*/ 209 h 510"/>
              <a:gd name="T14" fmla="*/ 222 w 902"/>
              <a:gd name="T15" fmla="*/ 214 h 510"/>
              <a:gd name="T16" fmla="*/ 224 w 902"/>
              <a:gd name="T17" fmla="*/ 230 h 510"/>
              <a:gd name="T18" fmla="*/ 210 w 902"/>
              <a:gd name="T19" fmla="*/ 239 h 510"/>
              <a:gd name="T20" fmla="*/ 139 w 902"/>
              <a:gd name="T21" fmla="*/ 235 h 510"/>
              <a:gd name="T22" fmla="*/ 137 w 902"/>
              <a:gd name="T23" fmla="*/ 218 h 510"/>
              <a:gd name="T24" fmla="*/ 151 w 902"/>
              <a:gd name="T25" fmla="*/ 209 h 510"/>
              <a:gd name="T26" fmla="*/ 210 w 902"/>
              <a:gd name="T27" fmla="*/ 90 h 510"/>
              <a:gd name="T28" fmla="*/ 224 w 902"/>
              <a:gd name="T29" fmla="*/ 99 h 510"/>
              <a:gd name="T30" fmla="*/ 222 w 902"/>
              <a:gd name="T31" fmla="*/ 115 h 510"/>
              <a:gd name="T32" fmla="*/ 151 w 902"/>
              <a:gd name="T33" fmla="*/ 119 h 510"/>
              <a:gd name="T34" fmla="*/ 137 w 902"/>
              <a:gd name="T35" fmla="*/ 111 h 510"/>
              <a:gd name="T36" fmla="*/ 139 w 902"/>
              <a:gd name="T37" fmla="*/ 93 h 510"/>
              <a:gd name="T38" fmla="*/ 330 w 902"/>
              <a:gd name="T39" fmla="*/ 330 h 510"/>
              <a:gd name="T40" fmla="*/ 732 w 902"/>
              <a:gd name="T41" fmla="*/ 334 h 510"/>
              <a:gd name="T42" fmla="*/ 735 w 902"/>
              <a:gd name="T43" fmla="*/ 350 h 510"/>
              <a:gd name="T44" fmla="*/ 721 w 902"/>
              <a:gd name="T45" fmla="*/ 360 h 510"/>
              <a:gd name="T46" fmla="*/ 320 w 902"/>
              <a:gd name="T47" fmla="*/ 355 h 510"/>
              <a:gd name="T48" fmla="*/ 317 w 902"/>
              <a:gd name="T49" fmla="*/ 339 h 510"/>
              <a:gd name="T50" fmla="*/ 330 w 902"/>
              <a:gd name="T51" fmla="*/ 330 h 510"/>
              <a:gd name="T52" fmla="*/ 721 w 902"/>
              <a:gd name="T53" fmla="*/ 209 h 510"/>
              <a:gd name="T54" fmla="*/ 735 w 902"/>
              <a:gd name="T55" fmla="*/ 218 h 510"/>
              <a:gd name="T56" fmla="*/ 732 w 902"/>
              <a:gd name="T57" fmla="*/ 235 h 510"/>
              <a:gd name="T58" fmla="*/ 330 w 902"/>
              <a:gd name="T59" fmla="*/ 239 h 510"/>
              <a:gd name="T60" fmla="*/ 317 w 902"/>
              <a:gd name="T61" fmla="*/ 230 h 510"/>
              <a:gd name="T62" fmla="*/ 320 w 902"/>
              <a:gd name="T63" fmla="*/ 214 h 510"/>
              <a:gd name="T64" fmla="*/ 330 w 902"/>
              <a:gd name="T65" fmla="*/ 209 h 510"/>
              <a:gd name="T66" fmla="*/ 727 w 902"/>
              <a:gd name="T67" fmla="*/ 91 h 510"/>
              <a:gd name="T68" fmla="*/ 736 w 902"/>
              <a:gd name="T69" fmla="*/ 105 h 510"/>
              <a:gd name="T70" fmla="*/ 727 w 902"/>
              <a:gd name="T71" fmla="*/ 118 h 510"/>
              <a:gd name="T72" fmla="*/ 325 w 902"/>
              <a:gd name="T73" fmla="*/ 118 h 510"/>
              <a:gd name="T74" fmla="*/ 315 w 902"/>
              <a:gd name="T75" fmla="*/ 105 h 510"/>
              <a:gd name="T76" fmla="*/ 325 w 902"/>
              <a:gd name="T77" fmla="*/ 91 h 510"/>
              <a:gd name="T78" fmla="*/ 2 w 902"/>
              <a:gd name="T79" fmla="*/ 501 h 510"/>
              <a:gd name="T80" fmla="*/ 15 w 902"/>
              <a:gd name="T81" fmla="*/ 510 h 510"/>
              <a:gd name="T82" fmla="*/ 897 w 902"/>
              <a:gd name="T83" fmla="*/ 506 h 510"/>
              <a:gd name="T84" fmla="*/ 902 w 902"/>
              <a:gd name="T85" fmla="*/ 0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02" h="510">
                <a:moveTo>
                  <a:pt x="151" y="330"/>
                </a:moveTo>
                <a:lnTo>
                  <a:pt x="210" y="330"/>
                </a:lnTo>
                <a:lnTo>
                  <a:pt x="216" y="331"/>
                </a:lnTo>
                <a:lnTo>
                  <a:pt x="222" y="334"/>
                </a:lnTo>
                <a:lnTo>
                  <a:pt x="224" y="339"/>
                </a:lnTo>
                <a:lnTo>
                  <a:pt x="225" y="345"/>
                </a:lnTo>
                <a:lnTo>
                  <a:pt x="224" y="350"/>
                </a:lnTo>
                <a:lnTo>
                  <a:pt x="222" y="355"/>
                </a:lnTo>
                <a:lnTo>
                  <a:pt x="216" y="359"/>
                </a:lnTo>
                <a:lnTo>
                  <a:pt x="210" y="360"/>
                </a:lnTo>
                <a:lnTo>
                  <a:pt x="151" y="360"/>
                </a:lnTo>
                <a:lnTo>
                  <a:pt x="145" y="359"/>
                </a:lnTo>
                <a:lnTo>
                  <a:pt x="139" y="355"/>
                </a:lnTo>
                <a:lnTo>
                  <a:pt x="137" y="350"/>
                </a:lnTo>
                <a:lnTo>
                  <a:pt x="136" y="345"/>
                </a:lnTo>
                <a:lnTo>
                  <a:pt x="137" y="339"/>
                </a:lnTo>
                <a:lnTo>
                  <a:pt x="139" y="334"/>
                </a:lnTo>
                <a:lnTo>
                  <a:pt x="145" y="331"/>
                </a:lnTo>
                <a:lnTo>
                  <a:pt x="151" y="330"/>
                </a:lnTo>
                <a:lnTo>
                  <a:pt x="151" y="330"/>
                </a:lnTo>
                <a:close/>
                <a:moveTo>
                  <a:pt x="151" y="209"/>
                </a:moveTo>
                <a:lnTo>
                  <a:pt x="210" y="209"/>
                </a:lnTo>
                <a:lnTo>
                  <a:pt x="216" y="210"/>
                </a:lnTo>
                <a:lnTo>
                  <a:pt x="222" y="214"/>
                </a:lnTo>
                <a:lnTo>
                  <a:pt x="224" y="218"/>
                </a:lnTo>
                <a:lnTo>
                  <a:pt x="225" y="224"/>
                </a:lnTo>
                <a:lnTo>
                  <a:pt x="224" y="230"/>
                </a:lnTo>
                <a:lnTo>
                  <a:pt x="222" y="235"/>
                </a:lnTo>
                <a:lnTo>
                  <a:pt x="216" y="238"/>
                </a:lnTo>
                <a:lnTo>
                  <a:pt x="210" y="239"/>
                </a:lnTo>
                <a:lnTo>
                  <a:pt x="151" y="239"/>
                </a:lnTo>
                <a:lnTo>
                  <a:pt x="145" y="238"/>
                </a:lnTo>
                <a:lnTo>
                  <a:pt x="139" y="235"/>
                </a:lnTo>
                <a:lnTo>
                  <a:pt x="137" y="230"/>
                </a:lnTo>
                <a:lnTo>
                  <a:pt x="136" y="224"/>
                </a:lnTo>
                <a:lnTo>
                  <a:pt x="137" y="218"/>
                </a:lnTo>
                <a:lnTo>
                  <a:pt x="139" y="214"/>
                </a:lnTo>
                <a:lnTo>
                  <a:pt x="145" y="210"/>
                </a:lnTo>
                <a:lnTo>
                  <a:pt x="151" y="209"/>
                </a:lnTo>
                <a:lnTo>
                  <a:pt x="151" y="209"/>
                </a:lnTo>
                <a:close/>
                <a:moveTo>
                  <a:pt x="151" y="90"/>
                </a:moveTo>
                <a:lnTo>
                  <a:pt x="210" y="90"/>
                </a:lnTo>
                <a:lnTo>
                  <a:pt x="216" y="91"/>
                </a:lnTo>
                <a:lnTo>
                  <a:pt x="222" y="93"/>
                </a:lnTo>
                <a:lnTo>
                  <a:pt x="224" y="99"/>
                </a:lnTo>
                <a:lnTo>
                  <a:pt x="225" y="105"/>
                </a:lnTo>
                <a:lnTo>
                  <a:pt x="224" y="111"/>
                </a:lnTo>
                <a:lnTo>
                  <a:pt x="222" y="115"/>
                </a:lnTo>
                <a:lnTo>
                  <a:pt x="216" y="118"/>
                </a:lnTo>
                <a:lnTo>
                  <a:pt x="210" y="120"/>
                </a:lnTo>
                <a:lnTo>
                  <a:pt x="151" y="119"/>
                </a:lnTo>
                <a:lnTo>
                  <a:pt x="145" y="118"/>
                </a:lnTo>
                <a:lnTo>
                  <a:pt x="139" y="115"/>
                </a:lnTo>
                <a:lnTo>
                  <a:pt x="137" y="111"/>
                </a:lnTo>
                <a:lnTo>
                  <a:pt x="136" y="105"/>
                </a:lnTo>
                <a:lnTo>
                  <a:pt x="137" y="99"/>
                </a:lnTo>
                <a:lnTo>
                  <a:pt x="139" y="93"/>
                </a:lnTo>
                <a:lnTo>
                  <a:pt x="145" y="91"/>
                </a:lnTo>
                <a:lnTo>
                  <a:pt x="151" y="90"/>
                </a:lnTo>
                <a:close/>
                <a:moveTo>
                  <a:pt x="330" y="330"/>
                </a:moveTo>
                <a:lnTo>
                  <a:pt x="721" y="330"/>
                </a:lnTo>
                <a:lnTo>
                  <a:pt x="727" y="331"/>
                </a:lnTo>
                <a:lnTo>
                  <a:pt x="732" y="334"/>
                </a:lnTo>
                <a:lnTo>
                  <a:pt x="735" y="339"/>
                </a:lnTo>
                <a:lnTo>
                  <a:pt x="736" y="345"/>
                </a:lnTo>
                <a:lnTo>
                  <a:pt x="735" y="350"/>
                </a:lnTo>
                <a:lnTo>
                  <a:pt x="732" y="355"/>
                </a:lnTo>
                <a:lnTo>
                  <a:pt x="727" y="359"/>
                </a:lnTo>
                <a:lnTo>
                  <a:pt x="721" y="360"/>
                </a:lnTo>
                <a:lnTo>
                  <a:pt x="330" y="360"/>
                </a:lnTo>
                <a:lnTo>
                  <a:pt x="325" y="359"/>
                </a:lnTo>
                <a:lnTo>
                  <a:pt x="320" y="355"/>
                </a:lnTo>
                <a:lnTo>
                  <a:pt x="317" y="350"/>
                </a:lnTo>
                <a:lnTo>
                  <a:pt x="315" y="345"/>
                </a:lnTo>
                <a:lnTo>
                  <a:pt x="317" y="339"/>
                </a:lnTo>
                <a:lnTo>
                  <a:pt x="320" y="334"/>
                </a:lnTo>
                <a:lnTo>
                  <a:pt x="325" y="331"/>
                </a:lnTo>
                <a:lnTo>
                  <a:pt x="330" y="330"/>
                </a:lnTo>
                <a:lnTo>
                  <a:pt x="330" y="330"/>
                </a:lnTo>
                <a:close/>
                <a:moveTo>
                  <a:pt x="330" y="209"/>
                </a:moveTo>
                <a:lnTo>
                  <a:pt x="721" y="209"/>
                </a:lnTo>
                <a:lnTo>
                  <a:pt x="727" y="210"/>
                </a:lnTo>
                <a:lnTo>
                  <a:pt x="732" y="214"/>
                </a:lnTo>
                <a:lnTo>
                  <a:pt x="735" y="218"/>
                </a:lnTo>
                <a:lnTo>
                  <a:pt x="736" y="224"/>
                </a:lnTo>
                <a:lnTo>
                  <a:pt x="735" y="230"/>
                </a:lnTo>
                <a:lnTo>
                  <a:pt x="732" y="235"/>
                </a:lnTo>
                <a:lnTo>
                  <a:pt x="727" y="238"/>
                </a:lnTo>
                <a:lnTo>
                  <a:pt x="721" y="239"/>
                </a:lnTo>
                <a:lnTo>
                  <a:pt x="330" y="239"/>
                </a:lnTo>
                <a:lnTo>
                  <a:pt x="325" y="238"/>
                </a:lnTo>
                <a:lnTo>
                  <a:pt x="320" y="235"/>
                </a:lnTo>
                <a:lnTo>
                  <a:pt x="317" y="230"/>
                </a:lnTo>
                <a:lnTo>
                  <a:pt x="315" y="224"/>
                </a:lnTo>
                <a:lnTo>
                  <a:pt x="317" y="218"/>
                </a:lnTo>
                <a:lnTo>
                  <a:pt x="320" y="214"/>
                </a:lnTo>
                <a:lnTo>
                  <a:pt x="325" y="210"/>
                </a:lnTo>
                <a:lnTo>
                  <a:pt x="330" y="209"/>
                </a:lnTo>
                <a:lnTo>
                  <a:pt x="330" y="209"/>
                </a:lnTo>
                <a:close/>
                <a:moveTo>
                  <a:pt x="330" y="90"/>
                </a:moveTo>
                <a:lnTo>
                  <a:pt x="721" y="90"/>
                </a:lnTo>
                <a:lnTo>
                  <a:pt x="727" y="91"/>
                </a:lnTo>
                <a:lnTo>
                  <a:pt x="732" y="93"/>
                </a:lnTo>
                <a:lnTo>
                  <a:pt x="735" y="99"/>
                </a:lnTo>
                <a:lnTo>
                  <a:pt x="736" y="105"/>
                </a:lnTo>
                <a:lnTo>
                  <a:pt x="735" y="111"/>
                </a:lnTo>
                <a:lnTo>
                  <a:pt x="732" y="115"/>
                </a:lnTo>
                <a:lnTo>
                  <a:pt x="727" y="118"/>
                </a:lnTo>
                <a:lnTo>
                  <a:pt x="721" y="120"/>
                </a:lnTo>
                <a:lnTo>
                  <a:pt x="330" y="119"/>
                </a:lnTo>
                <a:lnTo>
                  <a:pt x="325" y="118"/>
                </a:lnTo>
                <a:lnTo>
                  <a:pt x="320" y="115"/>
                </a:lnTo>
                <a:lnTo>
                  <a:pt x="317" y="111"/>
                </a:lnTo>
                <a:lnTo>
                  <a:pt x="315" y="105"/>
                </a:lnTo>
                <a:lnTo>
                  <a:pt x="317" y="99"/>
                </a:lnTo>
                <a:lnTo>
                  <a:pt x="320" y="93"/>
                </a:lnTo>
                <a:lnTo>
                  <a:pt x="325" y="91"/>
                </a:lnTo>
                <a:lnTo>
                  <a:pt x="330" y="90"/>
                </a:lnTo>
                <a:close/>
                <a:moveTo>
                  <a:pt x="0" y="495"/>
                </a:moveTo>
                <a:lnTo>
                  <a:pt x="2" y="501"/>
                </a:lnTo>
                <a:lnTo>
                  <a:pt x="5" y="506"/>
                </a:lnTo>
                <a:lnTo>
                  <a:pt x="10" y="509"/>
                </a:lnTo>
                <a:lnTo>
                  <a:pt x="15" y="510"/>
                </a:lnTo>
                <a:lnTo>
                  <a:pt x="886" y="510"/>
                </a:lnTo>
                <a:lnTo>
                  <a:pt x="892" y="509"/>
                </a:lnTo>
                <a:lnTo>
                  <a:pt x="897" y="506"/>
                </a:lnTo>
                <a:lnTo>
                  <a:pt x="900" y="501"/>
                </a:lnTo>
                <a:lnTo>
                  <a:pt x="902" y="495"/>
                </a:lnTo>
                <a:lnTo>
                  <a:pt x="902" y="0"/>
                </a:lnTo>
                <a:lnTo>
                  <a:pt x="0" y="0"/>
                </a:lnTo>
                <a:lnTo>
                  <a:pt x="0" y="4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/>
          </a:p>
        </p:txBody>
      </p:sp>
      <p:sp>
        <p:nvSpPr>
          <p:cNvPr id="28" name="Freeform 4776">
            <a:extLst>
              <a:ext uri="{FF2B5EF4-FFF2-40B4-BE49-F238E27FC236}">
                <a16:creationId xmlns="" xmlns:a16="http://schemas.microsoft.com/office/drawing/2014/main" id="{C8092ED1-DF13-4A88-9140-B942AF4CC42C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424036"/>
            <a:ext cx="396000" cy="72000"/>
          </a:xfrm>
          <a:custGeom>
            <a:avLst/>
            <a:gdLst>
              <a:gd name="T0" fmla="*/ 745 w 902"/>
              <a:gd name="T1" fmla="*/ 149 h 210"/>
              <a:gd name="T2" fmla="*/ 735 w 902"/>
              <a:gd name="T3" fmla="*/ 144 h 210"/>
              <a:gd name="T4" fmla="*/ 727 w 902"/>
              <a:gd name="T5" fmla="*/ 136 h 210"/>
              <a:gd name="T6" fmla="*/ 722 w 902"/>
              <a:gd name="T7" fmla="*/ 126 h 210"/>
              <a:gd name="T8" fmla="*/ 722 w 902"/>
              <a:gd name="T9" fmla="*/ 114 h 210"/>
              <a:gd name="T10" fmla="*/ 727 w 902"/>
              <a:gd name="T11" fmla="*/ 104 h 210"/>
              <a:gd name="T12" fmla="*/ 735 w 902"/>
              <a:gd name="T13" fmla="*/ 96 h 210"/>
              <a:gd name="T14" fmla="*/ 745 w 902"/>
              <a:gd name="T15" fmla="*/ 91 h 210"/>
              <a:gd name="T16" fmla="*/ 758 w 902"/>
              <a:gd name="T17" fmla="*/ 91 h 210"/>
              <a:gd name="T18" fmla="*/ 768 w 902"/>
              <a:gd name="T19" fmla="*/ 96 h 210"/>
              <a:gd name="T20" fmla="*/ 776 w 902"/>
              <a:gd name="T21" fmla="*/ 104 h 210"/>
              <a:gd name="T22" fmla="*/ 781 w 902"/>
              <a:gd name="T23" fmla="*/ 114 h 210"/>
              <a:gd name="T24" fmla="*/ 781 w 902"/>
              <a:gd name="T25" fmla="*/ 126 h 210"/>
              <a:gd name="T26" fmla="*/ 776 w 902"/>
              <a:gd name="T27" fmla="*/ 136 h 210"/>
              <a:gd name="T28" fmla="*/ 768 w 902"/>
              <a:gd name="T29" fmla="*/ 144 h 210"/>
              <a:gd name="T30" fmla="*/ 757 w 902"/>
              <a:gd name="T31" fmla="*/ 149 h 210"/>
              <a:gd name="T32" fmla="*/ 751 w 902"/>
              <a:gd name="T33" fmla="*/ 150 h 210"/>
              <a:gd name="T34" fmla="*/ 625 w 902"/>
              <a:gd name="T35" fmla="*/ 149 h 210"/>
              <a:gd name="T36" fmla="*/ 614 w 902"/>
              <a:gd name="T37" fmla="*/ 144 h 210"/>
              <a:gd name="T38" fmla="*/ 606 w 902"/>
              <a:gd name="T39" fmla="*/ 136 h 210"/>
              <a:gd name="T40" fmla="*/ 602 w 902"/>
              <a:gd name="T41" fmla="*/ 126 h 210"/>
              <a:gd name="T42" fmla="*/ 602 w 902"/>
              <a:gd name="T43" fmla="*/ 114 h 210"/>
              <a:gd name="T44" fmla="*/ 606 w 902"/>
              <a:gd name="T45" fmla="*/ 104 h 210"/>
              <a:gd name="T46" fmla="*/ 614 w 902"/>
              <a:gd name="T47" fmla="*/ 96 h 210"/>
              <a:gd name="T48" fmla="*/ 625 w 902"/>
              <a:gd name="T49" fmla="*/ 91 h 210"/>
              <a:gd name="T50" fmla="*/ 637 w 902"/>
              <a:gd name="T51" fmla="*/ 91 h 210"/>
              <a:gd name="T52" fmla="*/ 648 w 902"/>
              <a:gd name="T53" fmla="*/ 96 h 210"/>
              <a:gd name="T54" fmla="*/ 656 w 902"/>
              <a:gd name="T55" fmla="*/ 104 h 210"/>
              <a:gd name="T56" fmla="*/ 661 w 902"/>
              <a:gd name="T57" fmla="*/ 114 h 210"/>
              <a:gd name="T58" fmla="*/ 661 w 902"/>
              <a:gd name="T59" fmla="*/ 126 h 210"/>
              <a:gd name="T60" fmla="*/ 656 w 902"/>
              <a:gd name="T61" fmla="*/ 136 h 210"/>
              <a:gd name="T62" fmla="*/ 648 w 902"/>
              <a:gd name="T63" fmla="*/ 144 h 210"/>
              <a:gd name="T64" fmla="*/ 637 w 902"/>
              <a:gd name="T65" fmla="*/ 149 h 210"/>
              <a:gd name="T66" fmla="*/ 632 w 902"/>
              <a:gd name="T67" fmla="*/ 150 h 210"/>
              <a:gd name="T68" fmla="*/ 505 w 902"/>
              <a:gd name="T69" fmla="*/ 149 h 210"/>
              <a:gd name="T70" fmla="*/ 494 w 902"/>
              <a:gd name="T71" fmla="*/ 144 h 210"/>
              <a:gd name="T72" fmla="*/ 486 w 902"/>
              <a:gd name="T73" fmla="*/ 136 h 210"/>
              <a:gd name="T74" fmla="*/ 481 w 902"/>
              <a:gd name="T75" fmla="*/ 126 h 210"/>
              <a:gd name="T76" fmla="*/ 481 w 902"/>
              <a:gd name="T77" fmla="*/ 114 h 210"/>
              <a:gd name="T78" fmla="*/ 486 w 902"/>
              <a:gd name="T79" fmla="*/ 104 h 210"/>
              <a:gd name="T80" fmla="*/ 494 w 902"/>
              <a:gd name="T81" fmla="*/ 96 h 210"/>
              <a:gd name="T82" fmla="*/ 505 w 902"/>
              <a:gd name="T83" fmla="*/ 91 h 210"/>
              <a:gd name="T84" fmla="*/ 517 w 902"/>
              <a:gd name="T85" fmla="*/ 91 h 210"/>
              <a:gd name="T86" fmla="*/ 527 w 902"/>
              <a:gd name="T87" fmla="*/ 96 h 210"/>
              <a:gd name="T88" fmla="*/ 535 w 902"/>
              <a:gd name="T89" fmla="*/ 104 h 210"/>
              <a:gd name="T90" fmla="*/ 540 w 902"/>
              <a:gd name="T91" fmla="*/ 114 h 210"/>
              <a:gd name="T92" fmla="*/ 540 w 902"/>
              <a:gd name="T93" fmla="*/ 126 h 210"/>
              <a:gd name="T94" fmla="*/ 535 w 902"/>
              <a:gd name="T95" fmla="*/ 136 h 210"/>
              <a:gd name="T96" fmla="*/ 527 w 902"/>
              <a:gd name="T97" fmla="*/ 144 h 210"/>
              <a:gd name="T98" fmla="*/ 517 w 902"/>
              <a:gd name="T99" fmla="*/ 149 h 210"/>
              <a:gd name="T100" fmla="*/ 511 w 902"/>
              <a:gd name="T101" fmla="*/ 150 h 210"/>
              <a:gd name="T102" fmla="*/ 15 w 902"/>
              <a:gd name="T103" fmla="*/ 0 h 210"/>
              <a:gd name="T104" fmla="*/ 5 w 902"/>
              <a:gd name="T105" fmla="*/ 4 h 210"/>
              <a:gd name="T106" fmla="*/ 0 w 902"/>
              <a:gd name="T107" fmla="*/ 15 h 210"/>
              <a:gd name="T108" fmla="*/ 902 w 902"/>
              <a:gd name="T109" fmla="*/ 210 h 210"/>
              <a:gd name="T110" fmla="*/ 900 w 902"/>
              <a:gd name="T111" fmla="*/ 9 h 210"/>
              <a:gd name="T112" fmla="*/ 892 w 902"/>
              <a:gd name="T113" fmla="*/ 1 h 210"/>
              <a:gd name="T114" fmla="*/ 886 w 902"/>
              <a:gd name="T115" fmla="*/ 0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02" h="210">
                <a:moveTo>
                  <a:pt x="751" y="150"/>
                </a:moveTo>
                <a:lnTo>
                  <a:pt x="745" y="149"/>
                </a:lnTo>
                <a:lnTo>
                  <a:pt x="739" y="148"/>
                </a:lnTo>
                <a:lnTo>
                  <a:pt x="735" y="144"/>
                </a:lnTo>
                <a:lnTo>
                  <a:pt x="730" y="141"/>
                </a:lnTo>
                <a:lnTo>
                  <a:pt x="727" y="136"/>
                </a:lnTo>
                <a:lnTo>
                  <a:pt x="723" y="132"/>
                </a:lnTo>
                <a:lnTo>
                  <a:pt x="722" y="126"/>
                </a:lnTo>
                <a:lnTo>
                  <a:pt x="721" y="120"/>
                </a:lnTo>
                <a:lnTo>
                  <a:pt x="722" y="114"/>
                </a:lnTo>
                <a:lnTo>
                  <a:pt x="723" y="109"/>
                </a:lnTo>
                <a:lnTo>
                  <a:pt x="727" y="104"/>
                </a:lnTo>
                <a:lnTo>
                  <a:pt x="730" y="99"/>
                </a:lnTo>
                <a:lnTo>
                  <a:pt x="735" y="96"/>
                </a:lnTo>
                <a:lnTo>
                  <a:pt x="739" y="92"/>
                </a:lnTo>
                <a:lnTo>
                  <a:pt x="745" y="91"/>
                </a:lnTo>
                <a:lnTo>
                  <a:pt x="751" y="90"/>
                </a:lnTo>
                <a:lnTo>
                  <a:pt x="758" y="91"/>
                </a:lnTo>
                <a:lnTo>
                  <a:pt x="763" y="92"/>
                </a:lnTo>
                <a:lnTo>
                  <a:pt x="768" y="96"/>
                </a:lnTo>
                <a:lnTo>
                  <a:pt x="773" y="99"/>
                </a:lnTo>
                <a:lnTo>
                  <a:pt x="776" y="104"/>
                </a:lnTo>
                <a:lnTo>
                  <a:pt x="779" y="109"/>
                </a:lnTo>
                <a:lnTo>
                  <a:pt x="781" y="114"/>
                </a:lnTo>
                <a:lnTo>
                  <a:pt x="781" y="120"/>
                </a:lnTo>
                <a:lnTo>
                  <a:pt x="781" y="126"/>
                </a:lnTo>
                <a:lnTo>
                  <a:pt x="779" y="132"/>
                </a:lnTo>
                <a:lnTo>
                  <a:pt x="776" y="136"/>
                </a:lnTo>
                <a:lnTo>
                  <a:pt x="773" y="141"/>
                </a:lnTo>
                <a:lnTo>
                  <a:pt x="768" y="144"/>
                </a:lnTo>
                <a:lnTo>
                  <a:pt x="763" y="148"/>
                </a:lnTo>
                <a:lnTo>
                  <a:pt x="757" y="149"/>
                </a:lnTo>
                <a:lnTo>
                  <a:pt x="751" y="150"/>
                </a:lnTo>
                <a:lnTo>
                  <a:pt x="751" y="150"/>
                </a:lnTo>
                <a:close/>
                <a:moveTo>
                  <a:pt x="632" y="150"/>
                </a:moveTo>
                <a:lnTo>
                  <a:pt x="625" y="149"/>
                </a:lnTo>
                <a:lnTo>
                  <a:pt x="619" y="148"/>
                </a:lnTo>
                <a:lnTo>
                  <a:pt x="614" y="144"/>
                </a:lnTo>
                <a:lnTo>
                  <a:pt x="610" y="141"/>
                </a:lnTo>
                <a:lnTo>
                  <a:pt x="606" y="136"/>
                </a:lnTo>
                <a:lnTo>
                  <a:pt x="604" y="132"/>
                </a:lnTo>
                <a:lnTo>
                  <a:pt x="602" y="126"/>
                </a:lnTo>
                <a:lnTo>
                  <a:pt x="602" y="120"/>
                </a:lnTo>
                <a:lnTo>
                  <a:pt x="602" y="114"/>
                </a:lnTo>
                <a:lnTo>
                  <a:pt x="604" y="109"/>
                </a:lnTo>
                <a:lnTo>
                  <a:pt x="606" y="104"/>
                </a:lnTo>
                <a:lnTo>
                  <a:pt x="610" y="99"/>
                </a:lnTo>
                <a:lnTo>
                  <a:pt x="614" y="96"/>
                </a:lnTo>
                <a:lnTo>
                  <a:pt x="619" y="92"/>
                </a:lnTo>
                <a:lnTo>
                  <a:pt x="625" y="91"/>
                </a:lnTo>
                <a:lnTo>
                  <a:pt x="632" y="90"/>
                </a:lnTo>
                <a:lnTo>
                  <a:pt x="637" y="91"/>
                </a:lnTo>
                <a:lnTo>
                  <a:pt x="643" y="92"/>
                </a:lnTo>
                <a:lnTo>
                  <a:pt x="648" y="96"/>
                </a:lnTo>
                <a:lnTo>
                  <a:pt x="652" y="99"/>
                </a:lnTo>
                <a:lnTo>
                  <a:pt x="656" y="104"/>
                </a:lnTo>
                <a:lnTo>
                  <a:pt x="658" y="109"/>
                </a:lnTo>
                <a:lnTo>
                  <a:pt x="661" y="114"/>
                </a:lnTo>
                <a:lnTo>
                  <a:pt x="661" y="120"/>
                </a:lnTo>
                <a:lnTo>
                  <a:pt x="661" y="126"/>
                </a:lnTo>
                <a:lnTo>
                  <a:pt x="658" y="132"/>
                </a:lnTo>
                <a:lnTo>
                  <a:pt x="656" y="136"/>
                </a:lnTo>
                <a:lnTo>
                  <a:pt x="652" y="141"/>
                </a:lnTo>
                <a:lnTo>
                  <a:pt x="648" y="144"/>
                </a:lnTo>
                <a:lnTo>
                  <a:pt x="643" y="148"/>
                </a:lnTo>
                <a:lnTo>
                  <a:pt x="637" y="149"/>
                </a:lnTo>
                <a:lnTo>
                  <a:pt x="632" y="150"/>
                </a:lnTo>
                <a:lnTo>
                  <a:pt x="632" y="150"/>
                </a:lnTo>
                <a:close/>
                <a:moveTo>
                  <a:pt x="511" y="150"/>
                </a:moveTo>
                <a:lnTo>
                  <a:pt x="505" y="149"/>
                </a:lnTo>
                <a:lnTo>
                  <a:pt x="500" y="148"/>
                </a:lnTo>
                <a:lnTo>
                  <a:pt x="494" y="144"/>
                </a:lnTo>
                <a:lnTo>
                  <a:pt x="489" y="141"/>
                </a:lnTo>
                <a:lnTo>
                  <a:pt x="486" y="136"/>
                </a:lnTo>
                <a:lnTo>
                  <a:pt x="483" y="132"/>
                </a:lnTo>
                <a:lnTo>
                  <a:pt x="481" y="126"/>
                </a:lnTo>
                <a:lnTo>
                  <a:pt x="481" y="120"/>
                </a:lnTo>
                <a:lnTo>
                  <a:pt x="481" y="114"/>
                </a:lnTo>
                <a:lnTo>
                  <a:pt x="483" y="109"/>
                </a:lnTo>
                <a:lnTo>
                  <a:pt x="486" y="104"/>
                </a:lnTo>
                <a:lnTo>
                  <a:pt x="489" y="99"/>
                </a:lnTo>
                <a:lnTo>
                  <a:pt x="494" y="96"/>
                </a:lnTo>
                <a:lnTo>
                  <a:pt x="500" y="92"/>
                </a:lnTo>
                <a:lnTo>
                  <a:pt x="505" y="91"/>
                </a:lnTo>
                <a:lnTo>
                  <a:pt x="511" y="90"/>
                </a:lnTo>
                <a:lnTo>
                  <a:pt x="517" y="91"/>
                </a:lnTo>
                <a:lnTo>
                  <a:pt x="523" y="92"/>
                </a:lnTo>
                <a:lnTo>
                  <a:pt x="527" y="96"/>
                </a:lnTo>
                <a:lnTo>
                  <a:pt x="532" y="99"/>
                </a:lnTo>
                <a:lnTo>
                  <a:pt x="535" y="104"/>
                </a:lnTo>
                <a:lnTo>
                  <a:pt x="539" y="109"/>
                </a:lnTo>
                <a:lnTo>
                  <a:pt x="540" y="114"/>
                </a:lnTo>
                <a:lnTo>
                  <a:pt x="541" y="120"/>
                </a:lnTo>
                <a:lnTo>
                  <a:pt x="540" y="126"/>
                </a:lnTo>
                <a:lnTo>
                  <a:pt x="539" y="132"/>
                </a:lnTo>
                <a:lnTo>
                  <a:pt x="535" y="136"/>
                </a:lnTo>
                <a:lnTo>
                  <a:pt x="532" y="141"/>
                </a:lnTo>
                <a:lnTo>
                  <a:pt x="527" y="144"/>
                </a:lnTo>
                <a:lnTo>
                  <a:pt x="523" y="148"/>
                </a:lnTo>
                <a:lnTo>
                  <a:pt x="517" y="149"/>
                </a:lnTo>
                <a:lnTo>
                  <a:pt x="511" y="150"/>
                </a:lnTo>
                <a:lnTo>
                  <a:pt x="511" y="150"/>
                </a:lnTo>
                <a:close/>
                <a:moveTo>
                  <a:pt x="886" y="0"/>
                </a:moveTo>
                <a:lnTo>
                  <a:pt x="15" y="0"/>
                </a:lnTo>
                <a:lnTo>
                  <a:pt x="10" y="1"/>
                </a:lnTo>
                <a:lnTo>
                  <a:pt x="5" y="4"/>
                </a:lnTo>
                <a:lnTo>
                  <a:pt x="2" y="9"/>
                </a:lnTo>
                <a:lnTo>
                  <a:pt x="0" y="15"/>
                </a:lnTo>
                <a:lnTo>
                  <a:pt x="0" y="210"/>
                </a:lnTo>
                <a:lnTo>
                  <a:pt x="902" y="210"/>
                </a:lnTo>
                <a:lnTo>
                  <a:pt x="902" y="15"/>
                </a:lnTo>
                <a:lnTo>
                  <a:pt x="900" y="9"/>
                </a:lnTo>
                <a:lnTo>
                  <a:pt x="897" y="4"/>
                </a:lnTo>
                <a:lnTo>
                  <a:pt x="892" y="1"/>
                </a:lnTo>
                <a:lnTo>
                  <a:pt x="886" y="0"/>
                </a:lnTo>
                <a:lnTo>
                  <a:pt x="88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文字方塊 24"/>
          <p:cNvSpPr txBox="1"/>
          <p:nvPr/>
        </p:nvSpPr>
        <p:spPr>
          <a:xfrm>
            <a:off x="288183" y="1447800"/>
            <a:ext cx="4283817" cy="537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</a:t>
            </a:r>
            <a:r>
              <a:rPr lang="zh-TW" altLang="en-US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如何瀏覽館藏、館合書籍</a:t>
            </a:r>
            <a:r>
              <a:rPr lang="en-US" altLang="zh-TW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?</a:t>
            </a:r>
            <a:endParaRPr lang="en-US" altLang="zh-TW" sz="2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3" name="文字方塊 12"/>
          <p:cNvSpPr txBox="1"/>
          <p:nvPr/>
        </p:nvSpPr>
        <p:spPr>
          <a:xfrm>
            <a:off x="6096000" y="2326394"/>
            <a:ext cx="2686793" cy="364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本館書架依圖書館採購狀態，顯示</a:t>
            </a:r>
            <a:r>
              <a:rPr lang="en-US" altLang="zh-TW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PDA</a:t>
            </a:r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、館藏、跨館借閱書架，讀者可點擊書架上方「看全部」瀏覽書籍</a:t>
            </a:r>
            <a:r>
              <a:rPr lang="en-US" altLang="zh-TW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!</a:t>
            </a:r>
          </a:p>
          <a:p>
            <a:pPr>
              <a:lnSpc>
                <a:spcPct val="150000"/>
              </a:lnSpc>
            </a:pPr>
            <a:endParaRPr lang="en-US" altLang="zh-TW" sz="2000" b="1" dirty="0" smtClean="0">
              <a:solidFill>
                <a:schemeClr val="accent6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sz="1700" b="1" dirty="0" smtClean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亦有開放圖書館自訂書架功能</a:t>
            </a:r>
            <a:r>
              <a:rPr lang="zh-CN" altLang="en-US" sz="1700" b="1" dirty="0" smtClean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zh-TW" altLang="en-US" sz="1700" b="1" dirty="0" smtClean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供活動推廣使用</a:t>
            </a:r>
            <a:r>
              <a:rPr lang="en-US" altLang="zh-TW" sz="1700" b="1" dirty="0" smtClean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!</a:t>
            </a:r>
            <a:endParaRPr lang="zh-TW" altLang="en-US" sz="1700" b="1" dirty="0">
              <a:solidFill>
                <a:srgbClr val="FF505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028" name="Picture 4" descr="https://i.gyazo.com/bef767ec422c770e834951fa4b905614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9"/>
          <a:stretch/>
        </p:blipFill>
        <p:spPr bwMode="auto">
          <a:xfrm>
            <a:off x="307975" y="2400300"/>
            <a:ext cx="5527821" cy="400050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矩形 14"/>
          <p:cNvSpPr/>
          <p:nvPr/>
        </p:nvSpPr>
        <p:spPr>
          <a:xfrm>
            <a:off x="307975" y="2414155"/>
            <a:ext cx="2282825" cy="266700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099196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標題 2"/>
          <p:cNvSpPr>
            <a:spLocks noGrp="1"/>
          </p:cNvSpPr>
          <p:nvPr>
            <p:ph type="ctrTitle"/>
          </p:nvPr>
        </p:nvSpPr>
        <p:spPr>
          <a:xfrm>
            <a:off x="2388293" y="192006"/>
            <a:ext cx="5029200" cy="914400"/>
          </a:xfrm>
        </p:spPr>
        <p:txBody>
          <a:bodyPr>
            <a:normAutofit/>
          </a:bodyPr>
          <a:lstStyle/>
          <a:p>
            <a:pPr algn="l"/>
            <a:r>
              <a:rPr lang="zh-TW" altLang="en-US" sz="36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功能說明</a:t>
            </a:r>
            <a:endParaRPr lang="zh-TW" altLang="en-US" sz="32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/>
          </a:p>
        </p:txBody>
      </p:sp>
      <p:sp>
        <p:nvSpPr>
          <p:cNvPr id="27" name="Freeform 4777">
            <a:extLst>
              <a:ext uri="{FF2B5EF4-FFF2-40B4-BE49-F238E27FC236}">
                <a16:creationId xmlns="" xmlns:a16="http://schemas.microsoft.com/office/drawing/2014/main" id="{8C2F6FD5-B324-40F5-B07F-DCC3F9F9DA63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536856"/>
            <a:ext cx="396000" cy="288000"/>
          </a:xfrm>
          <a:custGeom>
            <a:avLst/>
            <a:gdLst>
              <a:gd name="T0" fmla="*/ 216 w 902"/>
              <a:gd name="T1" fmla="*/ 331 h 510"/>
              <a:gd name="T2" fmla="*/ 225 w 902"/>
              <a:gd name="T3" fmla="*/ 345 h 510"/>
              <a:gd name="T4" fmla="*/ 216 w 902"/>
              <a:gd name="T5" fmla="*/ 359 h 510"/>
              <a:gd name="T6" fmla="*/ 145 w 902"/>
              <a:gd name="T7" fmla="*/ 359 h 510"/>
              <a:gd name="T8" fmla="*/ 136 w 902"/>
              <a:gd name="T9" fmla="*/ 345 h 510"/>
              <a:gd name="T10" fmla="*/ 145 w 902"/>
              <a:gd name="T11" fmla="*/ 331 h 510"/>
              <a:gd name="T12" fmla="*/ 151 w 902"/>
              <a:gd name="T13" fmla="*/ 209 h 510"/>
              <a:gd name="T14" fmla="*/ 222 w 902"/>
              <a:gd name="T15" fmla="*/ 214 h 510"/>
              <a:gd name="T16" fmla="*/ 224 w 902"/>
              <a:gd name="T17" fmla="*/ 230 h 510"/>
              <a:gd name="T18" fmla="*/ 210 w 902"/>
              <a:gd name="T19" fmla="*/ 239 h 510"/>
              <a:gd name="T20" fmla="*/ 139 w 902"/>
              <a:gd name="T21" fmla="*/ 235 h 510"/>
              <a:gd name="T22" fmla="*/ 137 w 902"/>
              <a:gd name="T23" fmla="*/ 218 h 510"/>
              <a:gd name="T24" fmla="*/ 151 w 902"/>
              <a:gd name="T25" fmla="*/ 209 h 510"/>
              <a:gd name="T26" fmla="*/ 210 w 902"/>
              <a:gd name="T27" fmla="*/ 90 h 510"/>
              <a:gd name="T28" fmla="*/ 224 w 902"/>
              <a:gd name="T29" fmla="*/ 99 h 510"/>
              <a:gd name="T30" fmla="*/ 222 w 902"/>
              <a:gd name="T31" fmla="*/ 115 h 510"/>
              <a:gd name="T32" fmla="*/ 151 w 902"/>
              <a:gd name="T33" fmla="*/ 119 h 510"/>
              <a:gd name="T34" fmla="*/ 137 w 902"/>
              <a:gd name="T35" fmla="*/ 111 h 510"/>
              <a:gd name="T36" fmla="*/ 139 w 902"/>
              <a:gd name="T37" fmla="*/ 93 h 510"/>
              <a:gd name="T38" fmla="*/ 330 w 902"/>
              <a:gd name="T39" fmla="*/ 330 h 510"/>
              <a:gd name="T40" fmla="*/ 732 w 902"/>
              <a:gd name="T41" fmla="*/ 334 h 510"/>
              <a:gd name="T42" fmla="*/ 735 w 902"/>
              <a:gd name="T43" fmla="*/ 350 h 510"/>
              <a:gd name="T44" fmla="*/ 721 w 902"/>
              <a:gd name="T45" fmla="*/ 360 h 510"/>
              <a:gd name="T46" fmla="*/ 320 w 902"/>
              <a:gd name="T47" fmla="*/ 355 h 510"/>
              <a:gd name="T48" fmla="*/ 317 w 902"/>
              <a:gd name="T49" fmla="*/ 339 h 510"/>
              <a:gd name="T50" fmla="*/ 330 w 902"/>
              <a:gd name="T51" fmla="*/ 330 h 510"/>
              <a:gd name="T52" fmla="*/ 721 w 902"/>
              <a:gd name="T53" fmla="*/ 209 h 510"/>
              <a:gd name="T54" fmla="*/ 735 w 902"/>
              <a:gd name="T55" fmla="*/ 218 h 510"/>
              <a:gd name="T56" fmla="*/ 732 w 902"/>
              <a:gd name="T57" fmla="*/ 235 h 510"/>
              <a:gd name="T58" fmla="*/ 330 w 902"/>
              <a:gd name="T59" fmla="*/ 239 h 510"/>
              <a:gd name="T60" fmla="*/ 317 w 902"/>
              <a:gd name="T61" fmla="*/ 230 h 510"/>
              <a:gd name="T62" fmla="*/ 320 w 902"/>
              <a:gd name="T63" fmla="*/ 214 h 510"/>
              <a:gd name="T64" fmla="*/ 330 w 902"/>
              <a:gd name="T65" fmla="*/ 209 h 510"/>
              <a:gd name="T66" fmla="*/ 727 w 902"/>
              <a:gd name="T67" fmla="*/ 91 h 510"/>
              <a:gd name="T68" fmla="*/ 736 w 902"/>
              <a:gd name="T69" fmla="*/ 105 h 510"/>
              <a:gd name="T70" fmla="*/ 727 w 902"/>
              <a:gd name="T71" fmla="*/ 118 h 510"/>
              <a:gd name="T72" fmla="*/ 325 w 902"/>
              <a:gd name="T73" fmla="*/ 118 h 510"/>
              <a:gd name="T74" fmla="*/ 315 w 902"/>
              <a:gd name="T75" fmla="*/ 105 h 510"/>
              <a:gd name="T76" fmla="*/ 325 w 902"/>
              <a:gd name="T77" fmla="*/ 91 h 510"/>
              <a:gd name="T78" fmla="*/ 2 w 902"/>
              <a:gd name="T79" fmla="*/ 501 h 510"/>
              <a:gd name="T80" fmla="*/ 15 w 902"/>
              <a:gd name="T81" fmla="*/ 510 h 510"/>
              <a:gd name="T82" fmla="*/ 897 w 902"/>
              <a:gd name="T83" fmla="*/ 506 h 510"/>
              <a:gd name="T84" fmla="*/ 902 w 902"/>
              <a:gd name="T85" fmla="*/ 0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02" h="510">
                <a:moveTo>
                  <a:pt x="151" y="330"/>
                </a:moveTo>
                <a:lnTo>
                  <a:pt x="210" y="330"/>
                </a:lnTo>
                <a:lnTo>
                  <a:pt x="216" y="331"/>
                </a:lnTo>
                <a:lnTo>
                  <a:pt x="222" y="334"/>
                </a:lnTo>
                <a:lnTo>
                  <a:pt x="224" y="339"/>
                </a:lnTo>
                <a:lnTo>
                  <a:pt x="225" y="345"/>
                </a:lnTo>
                <a:lnTo>
                  <a:pt x="224" y="350"/>
                </a:lnTo>
                <a:lnTo>
                  <a:pt x="222" y="355"/>
                </a:lnTo>
                <a:lnTo>
                  <a:pt x="216" y="359"/>
                </a:lnTo>
                <a:lnTo>
                  <a:pt x="210" y="360"/>
                </a:lnTo>
                <a:lnTo>
                  <a:pt x="151" y="360"/>
                </a:lnTo>
                <a:lnTo>
                  <a:pt x="145" y="359"/>
                </a:lnTo>
                <a:lnTo>
                  <a:pt x="139" y="355"/>
                </a:lnTo>
                <a:lnTo>
                  <a:pt x="137" y="350"/>
                </a:lnTo>
                <a:lnTo>
                  <a:pt x="136" y="345"/>
                </a:lnTo>
                <a:lnTo>
                  <a:pt x="137" y="339"/>
                </a:lnTo>
                <a:lnTo>
                  <a:pt x="139" y="334"/>
                </a:lnTo>
                <a:lnTo>
                  <a:pt x="145" y="331"/>
                </a:lnTo>
                <a:lnTo>
                  <a:pt x="151" y="330"/>
                </a:lnTo>
                <a:lnTo>
                  <a:pt x="151" y="330"/>
                </a:lnTo>
                <a:close/>
                <a:moveTo>
                  <a:pt x="151" y="209"/>
                </a:moveTo>
                <a:lnTo>
                  <a:pt x="210" y="209"/>
                </a:lnTo>
                <a:lnTo>
                  <a:pt x="216" y="210"/>
                </a:lnTo>
                <a:lnTo>
                  <a:pt x="222" y="214"/>
                </a:lnTo>
                <a:lnTo>
                  <a:pt x="224" y="218"/>
                </a:lnTo>
                <a:lnTo>
                  <a:pt x="225" y="224"/>
                </a:lnTo>
                <a:lnTo>
                  <a:pt x="224" y="230"/>
                </a:lnTo>
                <a:lnTo>
                  <a:pt x="222" y="235"/>
                </a:lnTo>
                <a:lnTo>
                  <a:pt x="216" y="238"/>
                </a:lnTo>
                <a:lnTo>
                  <a:pt x="210" y="239"/>
                </a:lnTo>
                <a:lnTo>
                  <a:pt x="151" y="239"/>
                </a:lnTo>
                <a:lnTo>
                  <a:pt x="145" y="238"/>
                </a:lnTo>
                <a:lnTo>
                  <a:pt x="139" y="235"/>
                </a:lnTo>
                <a:lnTo>
                  <a:pt x="137" y="230"/>
                </a:lnTo>
                <a:lnTo>
                  <a:pt x="136" y="224"/>
                </a:lnTo>
                <a:lnTo>
                  <a:pt x="137" y="218"/>
                </a:lnTo>
                <a:lnTo>
                  <a:pt x="139" y="214"/>
                </a:lnTo>
                <a:lnTo>
                  <a:pt x="145" y="210"/>
                </a:lnTo>
                <a:lnTo>
                  <a:pt x="151" y="209"/>
                </a:lnTo>
                <a:lnTo>
                  <a:pt x="151" y="209"/>
                </a:lnTo>
                <a:close/>
                <a:moveTo>
                  <a:pt x="151" y="90"/>
                </a:moveTo>
                <a:lnTo>
                  <a:pt x="210" y="90"/>
                </a:lnTo>
                <a:lnTo>
                  <a:pt x="216" y="91"/>
                </a:lnTo>
                <a:lnTo>
                  <a:pt x="222" y="93"/>
                </a:lnTo>
                <a:lnTo>
                  <a:pt x="224" y="99"/>
                </a:lnTo>
                <a:lnTo>
                  <a:pt x="225" y="105"/>
                </a:lnTo>
                <a:lnTo>
                  <a:pt x="224" y="111"/>
                </a:lnTo>
                <a:lnTo>
                  <a:pt x="222" y="115"/>
                </a:lnTo>
                <a:lnTo>
                  <a:pt x="216" y="118"/>
                </a:lnTo>
                <a:lnTo>
                  <a:pt x="210" y="120"/>
                </a:lnTo>
                <a:lnTo>
                  <a:pt x="151" y="119"/>
                </a:lnTo>
                <a:lnTo>
                  <a:pt x="145" y="118"/>
                </a:lnTo>
                <a:lnTo>
                  <a:pt x="139" y="115"/>
                </a:lnTo>
                <a:lnTo>
                  <a:pt x="137" y="111"/>
                </a:lnTo>
                <a:lnTo>
                  <a:pt x="136" y="105"/>
                </a:lnTo>
                <a:lnTo>
                  <a:pt x="137" y="99"/>
                </a:lnTo>
                <a:lnTo>
                  <a:pt x="139" y="93"/>
                </a:lnTo>
                <a:lnTo>
                  <a:pt x="145" y="91"/>
                </a:lnTo>
                <a:lnTo>
                  <a:pt x="151" y="90"/>
                </a:lnTo>
                <a:close/>
                <a:moveTo>
                  <a:pt x="330" y="330"/>
                </a:moveTo>
                <a:lnTo>
                  <a:pt x="721" y="330"/>
                </a:lnTo>
                <a:lnTo>
                  <a:pt x="727" y="331"/>
                </a:lnTo>
                <a:lnTo>
                  <a:pt x="732" y="334"/>
                </a:lnTo>
                <a:lnTo>
                  <a:pt x="735" y="339"/>
                </a:lnTo>
                <a:lnTo>
                  <a:pt x="736" y="345"/>
                </a:lnTo>
                <a:lnTo>
                  <a:pt x="735" y="350"/>
                </a:lnTo>
                <a:lnTo>
                  <a:pt x="732" y="355"/>
                </a:lnTo>
                <a:lnTo>
                  <a:pt x="727" y="359"/>
                </a:lnTo>
                <a:lnTo>
                  <a:pt x="721" y="360"/>
                </a:lnTo>
                <a:lnTo>
                  <a:pt x="330" y="360"/>
                </a:lnTo>
                <a:lnTo>
                  <a:pt x="325" y="359"/>
                </a:lnTo>
                <a:lnTo>
                  <a:pt x="320" y="355"/>
                </a:lnTo>
                <a:lnTo>
                  <a:pt x="317" y="350"/>
                </a:lnTo>
                <a:lnTo>
                  <a:pt x="315" y="345"/>
                </a:lnTo>
                <a:lnTo>
                  <a:pt x="317" y="339"/>
                </a:lnTo>
                <a:lnTo>
                  <a:pt x="320" y="334"/>
                </a:lnTo>
                <a:lnTo>
                  <a:pt x="325" y="331"/>
                </a:lnTo>
                <a:lnTo>
                  <a:pt x="330" y="330"/>
                </a:lnTo>
                <a:lnTo>
                  <a:pt x="330" y="330"/>
                </a:lnTo>
                <a:close/>
                <a:moveTo>
                  <a:pt x="330" y="209"/>
                </a:moveTo>
                <a:lnTo>
                  <a:pt x="721" y="209"/>
                </a:lnTo>
                <a:lnTo>
                  <a:pt x="727" y="210"/>
                </a:lnTo>
                <a:lnTo>
                  <a:pt x="732" y="214"/>
                </a:lnTo>
                <a:lnTo>
                  <a:pt x="735" y="218"/>
                </a:lnTo>
                <a:lnTo>
                  <a:pt x="736" y="224"/>
                </a:lnTo>
                <a:lnTo>
                  <a:pt x="735" y="230"/>
                </a:lnTo>
                <a:lnTo>
                  <a:pt x="732" y="235"/>
                </a:lnTo>
                <a:lnTo>
                  <a:pt x="727" y="238"/>
                </a:lnTo>
                <a:lnTo>
                  <a:pt x="721" y="239"/>
                </a:lnTo>
                <a:lnTo>
                  <a:pt x="330" y="239"/>
                </a:lnTo>
                <a:lnTo>
                  <a:pt x="325" y="238"/>
                </a:lnTo>
                <a:lnTo>
                  <a:pt x="320" y="235"/>
                </a:lnTo>
                <a:lnTo>
                  <a:pt x="317" y="230"/>
                </a:lnTo>
                <a:lnTo>
                  <a:pt x="315" y="224"/>
                </a:lnTo>
                <a:lnTo>
                  <a:pt x="317" y="218"/>
                </a:lnTo>
                <a:lnTo>
                  <a:pt x="320" y="214"/>
                </a:lnTo>
                <a:lnTo>
                  <a:pt x="325" y="210"/>
                </a:lnTo>
                <a:lnTo>
                  <a:pt x="330" y="209"/>
                </a:lnTo>
                <a:lnTo>
                  <a:pt x="330" y="209"/>
                </a:lnTo>
                <a:close/>
                <a:moveTo>
                  <a:pt x="330" y="90"/>
                </a:moveTo>
                <a:lnTo>
                  <a:pt x="721" y="90"/>
                </a:lnTo>
                <a:lnTo>
                  <a:pt x="727" y="91"/>
                </a:lnTo>
                <a:lnTo>
                  <a:pt x="732" y="93"/>
                </a:lnTo>
                <a:lnTo>
                  <a:pt x="735" y="99"/>
                </a:lnTo>
                <a:lnTo>
                  <a:pt x="736" y="105"/>
                </a:lnTo>
                <a:lnTo>
                  <a:pt x="735" y="111"/>
                </a:lnTo>
                <a:lnTo>
                  <a:pt x="732" y="115"/>
                </a:lnTo>
                <a:lnTo>
                  <a:pt x="727" y="118"/>
                </a:lnTo>
                <a:lnTo>
                  <a:pt x="721" y="120"/>
                </a:lnTo>
                <a:lnTo>
                  <a:pt x="330" y="119"/>
                </a:lnTo>
                <a:lnTo>
                  <a:pt x="325" y="118"/>
                </a:lnTo>
                <a:lnTo>
                  <a:pt x="320" y="115"/>
                </a:lnTo>
                <a:lnTo>
                  <a:pt x="317" y="111"/>
                </a:lnTo>
                <a:lnTo>
                  <a:pt x="315" y="105"/>
                </a:lnTo>
                <a:lnTo>
                  <a:pt x="317" y="99"/>
                </a:lnTo>
                <a:lnTo>
                  <a:pt x="320" y="93"/>
                </a:lnTo>
                <a:lnTo>
                  <a:pt x="325" y="91"/>
                </a:lnTo>
                <a:lnTo>
                  <a:pt x="330" y="90"/>
                </a:lnTo>
                <a:close/>
                <a:moveTo>
                  <a:pt x="0" y="495"/>
                </a:moveTo>
                <a:lnTo>
                  <a:pt x="2" y="501"/>
                </a:lnTo>
                <a:lnTo>
                  <a:pt x="5" y="506"/>
                </a:lnTo>
                <a:lnTo>
                  <a:pt x="10" y="509"/>
                </a:lnTo>
                <a:lnTo>
                  <a:pt x="15" y="510"/>
                </a:lnTo>
                <a:lnTo>
                  <a:pt x="886" y="510"/>
                </a:lnTo>
                <a:lnTo>
                  <a:pt x="892" y="509"/>
                </a:lnTo>
                <a:lnTo>
                  <a:pt x="897" y="506"/>
                </a:lnTo>
                <a:lnTo>
                  <a:pt x="900" y="501"/>
                </a:lnTo>
                <a:lnTo>
                  <a:pt x="902" y="495"/>
                </a:lnTo>
                <a:lnTo>
                  <a:pt x="902" y="0"/>
                </a:lnTo>
                <a:lnTo>
                  <a:pt x="0" y="0"/>
                </a:lnTo>
                <a:lnTo>
                  <a:pt x="0" y="4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/>
          </a:p>
        </p:txBody>
      </p:sp>
      <p:sp>
        <p:nvSpPr>
          <p:cNvPr id="28" name="Freeform 4776">
            <a:extLst>
              <a:ext uri="{FF2B5EF4-FFF2-40B4-BE49-F238E27FC236}">
                <a16:creationId xmlns="" xmlns:a16="http://schemas.microsoft.com/office/drawing/2014/main" id="{C8092ED1-DF13-4A88-9140-B942AF4CC42C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424036"/>
            <a:ext cx="396000" cy="72000"/>
          </a:xfrm>
          <a:custGeom>
            <a:avLst/>
            <a:gdLst>
              <a:gd name="T0" fmla="*/ 745 w 902"/>
              <a:gd name="T1" fmla="*/ 149 h 210"/>
              <a:gd name="T2" fmla="*/ 735 w 902"/>
              <a:gd name="T3" fmla="*/ 144 h 210"/>
              <a:gd name="T4" fmla="*/ 727 w 902"/>
              <a:gd name="T5" fmla="*/ 136 h 210"/>
              <a:gd name="T6" fmla="*/ 722 w 902"/>
              <a:gd name="T7" fmla="*/ 126 h 210"/>
              <a:gd name="T8" fmla="*/ 722 w 902"/>
              <a:gd name="T9" fmla="*/ 114 h 210"/>
              <a:gd name="T10" fmla="*/ 727 w 902"/>
              <a:gd name="T11" fmla="*/ 104 h 210"/>
              <a:gd name="T12" fmla="*/ 735 w 902"/>
              <a:gd name="T13" fmla="*/ 96 h 210"/>
              <a:gd name="T14" fmla="*/ 745 w 902"/>
              <a:gd name="T15" fmla="*/ 91 h 210"/>
              <a:gd name="T16" fmla="*/ 758 w 902"/>
              <a:gd name="T17" fmla="*/ 91 h 210"/>
              <a:gd name="T18" fmla="*/ 768 w 902"/>
              <a:gd name="T19" fmla="*/ 96 h 210"/>
              <a:gd name="T20" fmla="*/ 776 w 902"/>
              <a:gd name="T21" fmla="*/ 104 h 210"/>
              <a:gd name="T22" fmla="*/ 781 w 902"/>
              <a:gd name="T23" fmla="*/ 114 h 210"/>
              <a:gd name="T24" fmla="*/ 781 w 902"/>
              <a:gd name="T25" fmla="*/ 126 h 210"/>
              <a:gd name="T26" fmla="*/ 776 w 902"/>
              <a:gd name="T27" fmla="*/ 136 h 210"/>
              <a:gd name="T28" fmla="*/ 768 w 902"/>
              <a:gd name="T29" fmla="*/ 144 h 210"/>
              <a:gd name="T30" fmla="*/ 757 w 902"/>
              <a:gd name="T31" fmla="*/ 149 h 210"/>
              <a:gd name="T32" fmla="*/ 751 w 902"/>
              <a:gd name="T33" fmla="*/ 150 h 210"/>
              <a:gd name="T34" fmla="*/ 625 w 902"/>
              <a:gd name="T35" fmla="*/ 149 h 210"/>
              <a:gd name="T36" fmla="*/ 614 w 902"/>
              <a:gd name="T37" fmla="*/ 144 h 210"/>
              <a:gd name="T38" fmla="*/ 606 w 902"/>
              <a:gd name="T39" fmla="*/ 136 h 210"/>
              <a:gd name="T40" fmla="*/ 602 w 902"/>
              <a:gd name="T41" fmla="*/ 126 h 210"/>
              <a:gd name="T42" fmla="*/ 602 w 902"/>
              <a:gd name="T43" fmla="*/ 114 h 210"/>
              <a:gd name="T44" fmla="*/ 606 w 902"/>
              <a:gd name="T45" fmla="*/ 104 h 210"/>
              <a:gd name="T46" fmla="*/ 614 w 902"/>
              <a:gd name="T47" fmla="*/ 96 h 210"/>
              <a:gd name="T48" fmla="*/ 625 w 902"/>
              <a:gd name="T49" fmla="*/ 91 h 210"/>
              <a:gd name="T50" fmla="*/ 637 w 902"/>
              <a:gd name="T51" fmla="*/ 91 h 210"/>
              <a:gd name="T52" fmla="*/ 648 w 902"/>
              <a:gd name="T53" fmla="*/ 96 h 210"/>
              <a:gd name="T54" fmla="*/ 656 w 902"/>
              <a:gd name="T55" fmla="*/ 104 h 210"/>
              <a:gd name="T56" fmla="*/ 661 w 902"/>
              <a:gd name="T57" fmla="*/ 114 h 210"/>
              <a:gd name="T58" fmla="*/ 661 w 902"/>
              <a:gd name="T59" fmla="*/ 126 h 210"/>
              <a:gd name="T60" fmla="*/ 656 w 902"/>
              <a:gd name="T61" fmla="*/ 136 h 210"/>
              <a:gd name="T62" fmla="*/ 648 w 902"/>
              <a:gd name="T63" fmla="*/ 144 h 210"/>
              <a:gd name="T64" fmla="*/ 637 w 902"/>
              <a:gd name="T65" fmla="*/ 149 h 210"/>
              <a:gd name="T66" fmla="*/ 632 w 902"/>
              <a:gd name="T67" fmla="*/ 150 h 210"/>
              <a:gd name="T68" fmla="*/ 505 w 902"/>
              <a:gd name="T69" fmla="*/ 149 h 210"/>
              <a:gd name="T70" fmla="*/ 494 w 902"/>
              <a:gd name="T71" fmla="*/ 144 h 210"/>
              <a:gd name="T72" fmla="*/ 486 w 902"/>
              <a:gd name="T73" fmla="*/ 136 h 210"/>
              <a:gd name="T74" fmla="*/ 481 w 902"/>
              <a:gd name="T75" fmla="*/ 126 h 210"/>
              <a:gd name="T76" fmla="*/ 481 w 902"/>
              <a:gd name="T77" fmla="*/ 114 h 210"/>
              <a:gd name="T78" fmla="*/ 486 w 902"/>
              <a:gd name="T79" fmla="*/ 104 h 210"/>
              <a:gd name="T80" fmla="*/ 494 w 902"/>
              <a:gd name="T81" fmla="*/ 96 h 210"/>
              <a:gd name="T82" fmla="*/ 505 w 902"/>
              <a:gd name="T83" fmla="*/ 91 h 210"/>
              <a:gd name="T84" fmla="*/ 517 w 902"/>
              <a:gd name="T85" fmla="*/ 91 h 210"/>
              <a:gd name="T86" fmla="*/ 527 w 902"/>
              <a:gd name="T87" fmla="*/ 96 h 210"/>
              <a:gd name="T88" fmla="*/ 535 w 902"/>
              <a:gd name="T89" fmla="*/ 104 h 210"/>
              <a:gd name="T90" fmla="*/ 540 w 902"/>
              <a:gd name="T91" fmla="*/ 114 h 210"/>
              <a:gd name="T92" fmla="*/ 540 w 902"/>
              <a:gd name="T93" fmla="*/ 126 h 210"/>
              <a:gd name="T94" fmla="*/ 535 w 902"/>
              <a:gd name="T95" fmla="*/ 136 h 210"/>
              <a:gd name="T96" fmla="*/ 527 w 902"/>
              <a:gd name="T97" fmla="*/ 144 h 210"/>
              <a:gd name="T98" fmla="*/ 517 w 902"/>
              <a:gd name="T99" fmla="*/ 149 h 210"/>
              <a:gd name="T100" fmla="*/ 511 w 902"/>
              <a:gd name="T101" fmla="*/ 150 h 210"/>
              <a:gd name="T102" fmla="*/ 15 w 902"/>
              <a:gd name="T103" fmla="*/ 0 h 210"/>
              <a:gd name="T104" fmla="*/ 5 w 902"/>
              <a:gd name="T105" fmla="*/ 4 h 210"/>
              <a:gd name="T106" fmla="*/ 0 w 902"/>
              <a:gd name="T107" fmla="*/ 15 h 210"/>
              <a:gd name="T108" fmla="*/ 902 w 902"/>
              <a:gd name="T109" fmla="*/ 210 h 210"/>
              <a:gd name="T110" fmla="*/ 900 w 902"/>
              <a:gd name="T111" fmla="*/ 9 h 210"/>
              <a:gd name="T112" fmla="*/ 892 w 902"/>
              <a:gd name="T113" fmla="*/ 1 h 210"/>
              <a:gd name="T114" fmla="*/ 886 w 902"/>
              <a:gd name="T115" fmla="*/ 0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02" h="210">
                <a:moveTo>
                  <a:pt x="751" y="150"/>
                </a:moveTo>
                <a:lnTo>
                  <a:pt x="745" y="149"/>
                </a:lnTo>
                <a:lnTo>
                  <a:pt x="739" y="148"/>
                </a:lnTo>
                <a:lnTo>
                  <a:pt x="735" y="144"/>
                </a:lnTo>
                <a:lnTo>
                  <a:pt x="730" y="141"/>
                </a:lnTo>
                <a:lnTo>
                  <a:pt x="727" y="136"/>
                </a:lnTo>
                <a:lnTo>
                  <a:pt x="723" y="132"/>
                </a:lnTo>
                <a:lnTo>
                  <a:pt x="722" y="126"/>
                </a:lnTo>
                <a:lnTo>
                  <a:pt x="721" y="120"/>
                </a:lnTo>
                <a:lnTo>
                  <a:pt x="722" y="114"/>
                </a:lnTo>
                <a:lnTo>
                  <a:pt x="723" y="109"/>
                </a:lnTo>
                <a:lnTo>
                  <a:pt x="727" y="104"/>
                </a:lnTo>
                <a:lnTo>
                  <a:pt x="730" y="99"/>
                </a:lnTo>
                <a:lnTo>
                  <a:pt x="735" y="96"/>
                </a:lnTo>
                <a:lnTo>
                  <a:pt x="739" y="92"/>
                </a:lnTo>
                <a:lnTo>
                  <a:pt x="745" y="91"/>
                </a:lnTo>
                <a:lnTo>
                  <a:pt x="751" y="90"/>
                </a:lnTo>
                <a:lnTo>
                  <a:pt x="758" y="91"/>
                </a:lnTo>
                <a:lnTo>
                  <a:pt x="763" y="92"/>
                </a:lnTo>
                <a:lnTo>
                  <a:pt x="768" y="96"/>
                </a:lnTo>
                <a:lnTo>
                  <a:pt x="773" y="99"/>
                </a:lnTo>
                <a:lnTo>
                  <a:pt x="776" y="104"/>
                </a:lnTo>
                <a:lnTo>
                  <a:pt x="779" y="109"/>
                </a:lnTo>
                <a:lnTo>
                  <a:pt x="781" y="114"/>
                </a:lnTo>
                <a:lnTo>
                  <a:pt x="781" y="120"/>
                </a:lnTo>
                <a:lnTo>
                  <a:pt x="781" y="126"/>
                </a:lnTo>
                <a:lnTo>
                  <a:pt x="779" y="132"/>
                </a:lnTo>
                <a:lnTo>
                  <a:pt x="776" y="136"/>
                </a:lnTo>
                <a:lnTo>
                  <a:pt x="773" y="141"/>
                </a:lnTo>
                <a:lnTo>
                  <a:pt x="768" y="144"/>
                </a:lnTo>
                <a:lnTo>
                  <a:pt x="763" y="148"/>
                </a:lnTo>
                <a:lnTo>
                  <a:pt x="757" y="149"/>
                </a:lnTo>
                <a:lnTo>
                  <a:pt x="751" y="150"/>
                </a:lnTo>
                <a:lnTo>
                  <a:pt x="751" y="150"/>
                </a:lnTo>
                <a:close/>
                <a:moveTo>
                  <a:pt x="632" y="150"/>
                </a:moveTo>
                <a:lnTo>
                  <a:pt x="625" y="149"/>
                </a:lnTo>
                <a:lnTo>
                  <a:pt x="619" y="148"/>
                </a:lnTo>
                <a:lnTo>
                  <a:pt x="614" y="144"/>
                </a:lnTo>
                <a:lnTo>
                  <a:pt x="610" y="141"/>
                </a:lnTo>
                <a:lnTo>
                  <a:pt x="606" y="136"/>
                </a:lnTo>
                <a:lnTo>
                  <a:pt x="604" y="132"/>
                </a:lnTo>
                <a:lnTo>
                  <a:pt x="602" y="126"/>
                </a:lnTo>
                <a:lnTo>
                  <a:pt x="602" y="120"/>
                </a:lnTo>
                <a:lnTo>
                  <a:pt x="602" y="114"/>
                </a:lnTo>
                <a:lnTo>
                  <a:pt x="604" y="109"/>
                </a:lnTo>
                <a:lnTo>
                  <a:pt x="606" y="104"/>
                </a:lnTo>
                <a:lnTo>
                  <a:pt x="610" y="99"/>
                </a:lnTo>
                <a:lnTo>
                  <a:pt x="614" y="96"/>
                </a:lnTo>
                <a:lnTo>
                  <a:pt x="619" y="92"/>
                </a:lnTo>
                <a:lnTo>
                  <a:pt x="625" y="91"/>
                </a:lnTo>
                <a:lnTo>
                  <a:pt x="632" y="90"/>
                </a:lnTo>
                <a:lnTo>
                  <a:pt x="637" y="91"/>
                </a:lnTo>
                <a:lnTo>
                  <a:pt x="643" y="92"/>
                </a:lnTo>
                <a:lnTo>
                  <a:pt x="648" y="96"/>
                </a:lnTo>
                <a:lnTo>
                  <a:pt x="652" y="99"/>
                </a:lnTo>
                <a:lnTo>
                  <a:pt x="656" y="104"/>
                </a:lnTo>
                <a:lnTo>
                  <a:pt x="658" y="109"/>
                </a:lnTo>
                <a:lnTo>
                  <a:pt x="661" y="114"/>
                </a:lnTo>
                <a:lnTo>
                  <a:pt x="661" y="120"/>
                </a:lnTo>
                <a:lnTo>
                  <a:pt x="661" y="126"/>
                </a:lnTo>
                <a:lnTo>
                  <a:pt x="658" y="132"/>
                </a:lnTo>
                <a:lnTo>
                  <a:pt x="656" y="136"/>
                </a:lnTo>
                <a:lnTo>
                  <a:pt x="652" y="141"/>
                </a:lnTo>
                <a:lnTo>
                  <a:pt x="648" y="144"/>
                </a:lnTo>
                <a:lnTo>
                  <a:pt x="643" y="148"/>
                </a:lnTo>
                <a:lnTo>
                  <a:pt x="637" y="149"/>
                </a:lnTo>
                <a:lnTo>
                  <a:pt x="632" y="150"/>
                </a:lnTo>
                <a:lnTo>
                  <a:pt x="632" y="150"/>
                </a:lnTo>
                <a:close/>
                <a:moveTo>
                  <a:pt x="511" y="150"/>
                </a:moveTo>
                <a:lnTo>
                  <a:pt x="505" y="149"/>
                </a:lnTo>
                <a:lnTo>
                  <a:pt x="500" y="148"/>
                </a:lnTo>
                <a:lnTo>
                  <a:pt x="494" y="144"/>
                </a:lnTo>
                <a:lnTo>
                  <a:pt x="489" y="141"/>
                </a:lnTo>
                <a:lnTo>
                  <a:pt x="486" y="136"/>
                </a:lnTo>
                <a:lnTo>
                  <a:pt x="483" y="132"/>
                </a:lnTo>
                <a:lnTo>
                  <a:pt x="481" y="126"/>
                </a:lnTo>
                <a:lnTo>
                  <a:pt x="481" y="120"/>
                </a:lnTo>
                <a:lnTo>
                  <a:pt x="481" y="114"/>
                </a:lnTo>
                <a:lnTo>
                  <a:pt x="483" y="109"/>
                </a:lnTo>
                <a:lnTo>
                  <a:pt x="486" y="104"/>
                </a:lnTo>
                <a:lnTo>
                  <a:pt x="489" y="99"/>
                </a:lnTo>
                <a:lnTo>
                  <a:pt x="494" y="96"/>
                </a:lnTo>
                <a:lnTo>
                  <a:pt x="500" y="92"/>
                </a:lnTo>
                <a:lnTo>
                  <a:pt x="505" y="91"/>
                </a:lnTo>
                <a:lnTo>
                  <a:pt x="511" y="90"/>
                </a:lnTo>
                <a:lnTo>
                  <a:pt x="517" y="91"/>
                </a:lnTo>
                <a:lnTo>
                  <a:pt x="523" y="92"/>
                </a:lnTo>
                <a:lnTo>
                  <a:pt x="527" y="96"/>
                </a:lnTo>
                <a:lnTo>
                  <a:pt x="532" y="99"/>
                </a:lnTo>
                <a:lnTo>
                  <a:pt x="535" y="104"/>
                </a:lnTo>
                <a:lnTo>
                  <a:pt x="539" y="109"/>
                </a:lnTo>
                <a:lnTo>
                  <a:pt x="540" y="114"/>
                </a:lnTo>
                <a:lnTo>
                  <a:pt x="541" y="120"/>
                </a:lnTo>
                <a:lnTo>
                  <a:pt x="540" y="126"/>
                </a:lnTo>
                <a:lnTo>
                  <a:pt x="539" y="132"/>
                </a:lnTo>
                <a:lnTo>
                  <a:pt x="535" y="136"/>
                </a:lnTo>
                <a:lnTo>
                  <a:pt x="532" y="141"/>
                </a:lnTo>
                <a:lnTo>
                  <a:pt x="527" y="144"/>
                </a:lnTo>
                <a:lnTo>
                  <a:pt x="523" y="148"/>
                </a:lnTo>
                <a:lnTo>
                  <a:pt x="517" y="149"/>
                </a:lnTo>
                <a:lnTo>
                  <a:pt x="511" y="150"/>
                </a:lnTo>
                <a:lnTo>
                  <a:pt x="511" y="150"/>
                </a:lnTo>
                <a:close/>
                <a:moveTo>
                  <a:pt x="886" y="0"/>
                </a:moveTo>
                <a:lnTo>
                  <a:pt x="15" y="0"/>
                </a:lnTo>
                <a:lnTo>
                  <a:pt x="10" y="1"/>
                </a:lnTo>
                <a:lnTo>
                  <a:pt x="5" y="4"/>
                </a:lnTo>
                <a:lnTo>
                  <a:pt x="2" y="9"/>
                </a:lnTo>
                <a:lnTo>
                  <a:pt x="0" y="15"/>
                </a:lnTo>
                <a:lnTo>
                  <a:pt x="0" y="210"/>
                </a:lnTo>
                <a:lnTo>
                  <a:pt x="902" y="210"/>
                </a:lnTo>
                <a:lnTo>
                  <a:pt x="902" y="15"/>
                </a:lnTo>
                <a:lnTo>
                  <a:pt x="900" y="9"/>
                </a:lnTo>
                <a:lnTo>
                  <a:pt x="897" y="4"/>
                </a:lnTo>
                <a:lnTo>
                  <a:pt x="892" y="1"/>
                </a:lnTo>
                <a:lnTo>
                  <a:pt x="886" y="0"/>
                </a:lnTo>
                <a:lnTo>
                  <a:pt x="88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文字方塊 24"/>
          <p:cNvSpPr txBox="1"/>
          <p:nvPr/>
        </p:nvSpPr>
        <p:spPr>
          <a:xfrm>
            <a:off x="307975" y="1447800"/>
            <a:ext cx="4283817" cy="537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</a:t>
            </a:r>
            <a:r>
              <a:rPr lang="zh-TW" altLang="en-US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如何找書</a:t>
            </a:r>
            <a:r>
              <a:rPr lang="en-US" altLang="zh-TW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?</a:t>
            </a:r>
            <a:endParaRPr lang="en-US" altLang="zh-TW" sz="2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29" name="Picture 1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00" t="23753" r="19043" b="27193"/>
          <a:stretch/>
        </p:blipFill>
        <p:spPr bwMode="auto">
          <a:xfrm>
            <a:off x="307975" y="2362200"/>
            <a:ext cx="5063796" cy="2949039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50" name="Picture 2" descr="https://i.gyazo.com/1b5981c8210c4f2873b2847a4ed96d5d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4551690"/>
            <a:ext cx="4953000" cy="2052534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文字方塊 4"/>
          <p:cNvSpPr txBox="1"/>
          <p:nvPr/>
        </p:nvSpPr>
        <p:spPr>
          <a:xfrm>
            <a:off x="6221681" y="2253970"/>
            <a:ext cx="259080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sz="2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一般查詢和進階查詢皆可自訂查詢</a:t>
            </a:r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欄位</a:t>
            </a:r>
            <a:r>
              <a:rPr lang="zh-TW" altLang="en-US" sz="2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  <a:endParaRPr lang="en-US" altLang="zh-TW" sz="2000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endParaRPr lang="zh-TW" altLang="en-US" sz="20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sz="2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查詢</a:t>
            </a:r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結果可依</a:t>
            </a:r>
            <a:r>
              <a:rPr lang="zh-TW" altLang="en-US" sz="2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相關度、出版年</a:t>
            </a:r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和推薦分數排序，</a:t>
            </a:r>
            <a:r>
              <a:rPr lang="zh-TW" altLang="en-US" sz="2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供讀者快速定位目標讀物</a:t>
            </a:r>
            <a:r>
              <a:rPr lang="en-US" altLang="zh-TW" sz="2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!</a:t>
            </a:r>
          </a:p>
        </p:txBody>
      </p:sp>
      <p:sp>
        <p:nvSpPr>
          <p:cNvPr id="30" name="矩形 29"/>
          <p:cNvSpPr/>
          <p:nvPr/>
        </p:nvSpPr>
        <p:spPr>
          <a:xfrm>
            <a:off x="2590800" y="2399804"/>
            <a:ext cx="2743200" cy="952995"/>
          </a:xfrm>
          <a:prstGeom prst="rect">
            <a:avLst/>
          </a:prstGeom>
          <a:noFill/>
          <a:ln>
            <a:solidFill>
              <a:srgbClr val="FF5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2547702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標題 2"/>
          <p:cNvSpPr>
            <a:spLocks noGrp="1"/>
          </p:cNvSpPr>
          <p:nvPr>
            <p:ph type="ctrTitle"/>
          </p:nvPr>
        </p:nvSpPr>
        <p:spPr>
          <a:xfrm>
            <a:off x="2388293" y="192006"/>
            <a:ext cx="5029200" cy="914400"/>
          </a:xfrm>
        </p:spPr>
        <p:txBody>
          <a:bodyPr>
            <a:normAutofit/>
          </a:bodyPr>
          <a:lstStyle/>
          <a:p>
            <a:pPr algn="l"/>
            <a:r>
              <a:rPr lang="zh-TW" altLang="en-US" sz="36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功能說明</a:t>
            </a:r>
            <a:endParaRPr lang="zh-TW" altLang="en-US" sz="32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/>
          </a:p>
        </p:txBody>
      </p:sp>
      <p:sp>
        <p:nvSpPr>
          <p:cNvPr id="27" name="Freeform 4777">
            <a:extLst>
              <a:ext uri="{FF2B5EF4-FFF2-40B4-BE49-F238E27FC236}">
                <a16:creationId xmlns="" xmlns:a16="http://schemas.microsoft.com/office/drawing/2014/main" id="{8C2F6FD5-B324-40F5-B07F-DCC3F9F9DA63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536856"/>
            <a:ext cx="396000" cy="288000"/>
          </a:xfrm>
          <a:custGeom>
            <a:avLst/>
            <a:gdLst>
              <a:gd name="T0" fmla="*/ 216 w 902"/>
              <a:gd name="T1" fmla="*/ 331 h 510"/>
              <a:gd name="T2" fmla="*/ 225 w 902"/>
              <a:gd name="T3" fmla="*/ 345 h 510"/>
              <a:gd name="T4" fmla="*/ 216 w 902"/>
              <a:gd name="T5" fmla="*/ 359 h 510"/>
              <a:gd name="T6" fmla="*/ 145 w 902"/>
              <a:gd name="T7" fmla="*/ 359 h 510"/>
              <a:gd name="T8" fmla="*/ 136 w 902"/>
              <a:gd name="T9" fmla="*/ 345 h 510"/>
              <a:gd name="T10" fmla="*/ 145 w 902"/>
              <a:gd name="T11" fmla="*/ 331 h 510"/>
              <a:gd name="T12" fmla="*/ 151 w 902"/>
              <a:gd name="T13" fmla="*/ 209 h 510"/>
              <a:gd name="T14" fmla="*/ 222 w 902"/>
              <a:gd name="T15" fmla="*/ 214 h 510"/>
              <a:gd name="T16" fmla="*/ 224 w 902"/>
              <a:gd name="T17" fmla="*/ 230 h 510"/>
              <a:gd name="T18" fmla="*/ 210 w 902"/>
              <a:gd name="T19" fmla="*/ 239 h 510"/>
              <a:gd name="T20" fmla="*/ 139 w 902"/>
              <a:gd name="T21" fmla="*/ 235 h 510"/>
              <a:gd name="T22" fmla="*/ 137 w 902"/>
              <a:gd name="T23" fmla="*/ 218 h 510"/>
              <a:gd name="T24" fmla="*/ 151 w 902"/>
              <a:gd name="T25" fmla="*/ 209 h 510"/>
              <a:gd name="T26" fmla="*/ 210 w 902"/>
              <a:gd name="T27" fmla="*/ 90 h 510"/>
              <a:gd name="T28" fmla="*/ 224 w 902"/>
              <a:gd name="T29" fmla="*/ 99 h 510"/>
              <a:gd name="T30" fmla="*/ 222 w 902"/>
              <a:gd name="T31" fmla="*/ 115 h 510"/>
              <a:gd name="T32" fmla="*/ 151 w 902"/>
              <a:gd name="T33" fmla="*/ 119 h 510"/>
              <a:gd name="T34" fmla="*/ 137 w 902"/>
              <a:gd name="T35" fmla="*/ 111 h 510"/>
              <a:gd name="T36" fmla="*/ 139 w 902"/>
              <a:gd name="T37" fmla="*/ 93 h 510"/>
              <a:gd name="T38" fmla="*/ 330 w 902"/>
              <a:gd name="T39" fmla="*/ 330 h 510"/>
              <a:gd name="T40" fmla="*/ 732 w 902"/>
              <a:gd name="T41" fmla="*/ 334 h 510"/>
              <a:gd name="T42" fmla="*/ 735 w 902"/>
              <a:gd name="T43" fmla="*/ 350 h 510"/>
              <a:gd name="T44" fmla="*/ 721 w 902"/>
              <a:gd name="T45" fmla="*/ 360 h 510"/>
              <a:gd name="T46" fmla="*/ 320 w 902"/>
              <a:gd name="T47" fmla="*/ 355 h 510"/>
              <a:gd name="T48" fmla="*/ 317 w 902"/>
              <a:gd name="T49" fmla="*/ 339 h 510"/>
              <a:gd name="T50" fmla="*/ 330 w 902"/>
              <a:gd name="T51" fmla="*/ 330 h 510"/>
              <a:gd name="T52" fmla="*/ 721 w 902"/>
              <a:gd name="T53" fmla="*/ 209 h 510"/>
              <a:gd name="T54" fmla="*/ 735 w 902"/>
              <a:gd name="T55" fmla="*/ 218 h 510"/>
              <a:gd name="T56" fmla="*/ 732 w 902"/>
              <a:gd name="T57" fmla="*/ 235 h 510"/>
              <a:gd name="T58" fmla="*/ 330 w 902"/>
              <a:gd name="T59" fmla="*/ 239 h 510"/>
              <a:gd name="T60" fmla="*/ 317 w 902"/>
              <a:gd name="T61" fmla="*/ 230 h 510"/>
              <a:gd name="T62" fmla="*/ 320 w 902"/>
              <a:gd name="T63" fmla="*/ 214 h 510"/>
              <a:gd name="T64" fmla="*/ 330 w 902"/>
              <a:gd name="T65" fmla="*/ 209 h 510"/>
              <a:gd name="T66" fmla="*/ 727 w 902"/>
              <a:gd name="T67" fmla="*/ 91 h 510"/>
              <a:gd name="T68" fmla="*/ 736 w 902"/>
              <a:gd name="T69" fmla="*/ 105 h 510"/>
              <a:gd name="T70" fmla="*/ 727 w 902"/>
              <a:gd name="T71" fmla="*/ 118 h 510"/>
              <a:gd name="T72" fmla="*/ 325 w 902"/>
              <a:gd name="T73" fmla="*/ 118 h 510"/>
              <a:gd name="T74" fmla="*/ 315 w 902"/>
              <a:gd name="T75" fmla="*/ 105 h 510"/>
              <a:gd name="T76" fmla="*/ 325 w 902"/>
              <a:gd name="T77" fmla="*/ 91 h 510"/>
              <a:gd name="T78" fmla="*/ 2 w 902"/>
              <a:gd name="T79" fmla="*/ 501 h 510"/>
              <a:gd name="T80" fmla="*/ 15 w 902"/>
              <a:gd name="T81" fmla="*/ 510 h 510"/>
              <a:gd name="T82" fmla="*/ 897 w 902"/>
              <a:gd name="T83" fmla="*/ 506 h 510"/>
              <a:gd name="T84" fmla="*/ 902 w 902"/>
              <a:gd name="T85" fmla="*/ 0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02" h="510">
                <a:moveTo>
                  <a:pt x="151" y="330"/>
                </a:moveTo>
                <a:lnTo>
                  <a:pt x="210" y="330"/>
                </a:lnTo>
                <a:lnTo>
                  <a:pt x="216" y="331"/>
                </a:lnTo>
                <a:lnTo>
                  <a:pt x="222" y="334"/>
                </a:lnTo>
                <a:lnTo>
                  <a:pt x="224" y="339"/>
                </a:lnTo>
                <a:lnTo>
                  <a:pt x="225" y="345"/>
                </a:lnTo>
                <a:lnTo>
                  <a:pt x="224" y="350"/>
                </a:lnTo>
                <a:lnTo>
                  <a:pt x="222" y="355"/>
                </a:lnTo>
                <a:lnTo>
                  <a:pt x="216" y="359"/>
                </a:lnTo>
                <a:lnTo>
                  <a:pt x="210" y="360"/>
                </a:lnTo>
                <a:lnTo>
                  <a:pt x="151" y="360"/>
                </a:lnTo>
                <a:lnTo>
                  <a:pt x="145" y="359"/>
                </a:lnTo>
                <a:lnTo>
                  <a:pt x="139" y="355"/>
                </a:lnTo>
                <a:lnTo>
                  <a:pt x="137" y="350"/>
                </a:lnTo>
                <a:lnTo>
                  <a:pt x="136" y="345"/>
                </a:lnTo>
                <a:lnTo>
                  <a:pt x="137" y="339"/>
                </a:lnTo>
                <a:lnTo>
                  <a:pt x="139" y="334"/>
                </a:lnTo>
                <a:lnTo>
                  <a:pt x="145" y="331"/>
                </a:lnTo>
                <a:lnTo>
                  <a:pt x="151" y="330"/>
                </a:lnTo>
                <a:lnTo>
                  <a:pt x="151" y="330"/>
                </a:lnTo>
                <a:close/>
                <a:moveTo>
                  <a:pt x="151" y="209"/>
                </a:moveTo>
                <a:lnTo>
                  <a:pt x="210" y="209"/>
                </a:lnTo>
                <a:lnTo>
                  <a:pt x="216" y="210"/>
                </a:lnTo>
                <a:lnTo>
                  <a:pt x="222" y="214"/>
                </a:lnTo>
                <a:lnTo>
                  <a:pt x="224" y="218"/>
                </a:lnTo>
                <a:lnTo>
                  <a:pt x="225" y="224"/>
                </a:lnTo>
                <a:lnTo>
                  <a:pt x="224" y="230"/>
                </a:lnTo>
                <a:lnTo>
                  <a:pt x="222" y="235"/>
                </a:lnTo>
                <a:lnTo>
                  <a:pt x="216" y="238"/>
                </a:lnTo>
                <a:lnTo>
                  <a:pt x="210" y="239"/>
                </a:lnTo>
                <a:lnTo>
                  <a:pt x="151" y="239"/>
                </a:lnTo>
                <a:lnTo>
                  <a:pt x="145" y="238"/>
                </a:lnTo>
                <a:lnTo>
                  <a:pt x="139" y="235"/>
                </a:lnTo>
                <a:lnTo>
                  <a:pt x="137" y="230"/>
                </a:lnTo>
                <a:lnTo>
                  <a:pt x="136" y="224"/>
                </a:lnTo>
                <a:lnTo>
                  <a:pt x="137" y="218"/>
                </a:lnTo>
                <a:lnTo>
                  <a:pt x="139" y="214"/>
                </a:lnTo>
                <a:lnTo>
                  <a:pt x="145" y="210"/>
                </a:lnTo>
                <a:lnTo>
                  <a:pt x="151" y="209"/>
                </a:lnTo>
                <a:lnTo>
                  <a:pt x="151" y="209"/>
                </a:lnTo>
                <a:close/>
                <a:moveTo>
                  <a:pt x="151" y="90"/>
                </a:moveTo>
                <a:lnTo>
                  <a:pt x="210" y="90"/>
                </a:lnTo>
                <a:lnTo>
                  <a:pt x="216" y="91"/>
                </a:lnTo>
                <a:lnTo>
                  <a:pt x="222" y="93"/>
                </a:lnTo>
                <a:lnTo>
                  <a:pt x="224" y="99"/>
                </a:lnTo>
                <a:lnTo>
                  <a:pt x="225" y="105"/>
                </a:lnTo>
                <a:lnTo>
                  <a:pt x="224" y="111"/>
                </a:lnTo>
                <a:lnTo>
                  <a:pt x="222" y="115"/>
                </a:lnTo>
                <a:lnTo>
                  <a:pt x="216" y="118"/>
                </a:lnTo>
                <a:lnTo>
                  <a:pt x="210" y="120"/>
                </a:lnTo>
                <a:lnTo>
                  <a:pt x="151" y="119"/>
                </a:lnTo>
                <a:lnTo>
                  <a:pt x="145" y="118"/>
                </a:lnTo>
                <a:lnTo>
                  <a:pt x="139" y="115"/>
                </a:lnTo>
                <a:lnTo>
                  <a:pt x="137" y="111"/>
                </a:lnTo>
                <a:lnTo>
                  <a:pt x="136" y="105"/>
                </a:lnTo>
                <a:lnTo>
                  <a:pt x="137" y="99"/>
                </a:lnTo>
                <a:lnTo>
                  <a:pt x="139" y="93"/>
                </a:lnTo>
                <a:lnTo>
                  <a:pt x="145" y="91"/>
                </a:lnTo>
                <a:lnTo>
                  <a:pt x="151" y="90"/>
                </a:lnTo>
                <a:close/>
                <a:moveTo>
                  <a:pt x="330" y="330"/>
                </a:moveTo>
                <a:lnTo>
                  <a:pt x="721" y="330"/>
                </a:lnTo>
                <a:lnTo>
                  <a:pt x="727" y="331"/>
                </a:lnTo>
                <a:lnTo>
                  <a:pt x="732" y="334"/>
                </a:lnTo>
                <a:lnTo>
                  <a:pt x="735" y="339"/>
                </a:lnTo>
                <a:lnTo>
                  <a:pt x="736" y="345"/>
                </a:lnTo>
                <a:lnTo>
                  <a:pt x="735" y="350"/>
                </a:lnTo>
                <a:lnTo>
                  <a:pt x="732" y="355"/>
                </a:lnTo>
                <a:lnTo>
                  <a:pt x="727" y="359"/>
                </a:lnTo>
                <a:lnTo>
                  <a:pt x="721" y="360"/>
                </a:lnTo>
                <a:lnTo>
                  <a:pt x="330" y="360"/>
                </a:lnTo>
                <a:lnTo>
                  <a:pt x="325" y="359"/>
                </a:lnTo>
                <a:lnTo>
                  <a:pt x="320" y="355"/>
                </a:lnTo>
                <a:lnTo>
                  <a:pt x="317" y="350"/>
                </a:lnTo>
                <a:lnTo>
                  <a:pt x="315" y="345"/>
                </a:lnTo>
                <a:lnTo>
                  <a:pt x="317" y="339"/>
                </a:lnTo>
                <a:lnTo>
                  <a:pt x="320" y="334"/>
                </a:lnTo>
                <a:lnTo>
                  <a:pt x="325" y="331"/>
                </a:lnTo>
                <a:lnTo>
                  <a:pt x="330" y="330"/>
                </a:lnTo>
                <a:lnTo>
                  <a:pt x="330" y="330"/>
                </a:lnTo>
                <a:close/>
                <a:moveTo>
                  <a:pt x="330" y="209"/>
                </a:moveTo>
                <a:lnTo>
                  <a:pt x="721" y="209"/>
                </a:lnTo>
                <a:lnTo>
                  <a:pt x="727" y="210"/>
                </a:lnTo>
                <a:lnTo>
                  <a:pt x="732" y="214"/>
                </a:lnTo>
                <a:lnTo>
                  <a:pt x="735" y="218"/>
                </a:lnTo>
                <a:lnTo>
                  <a:pt x="736" y="224"/>
                </a:lnTo>
                <a:lnTo>
                  <a:pt x="735" y="230"/>
                </a:lnTo>
                <a:lnTo>
                  <a:pt x="732" y="235"/>
                </a:lnTo>
                <a:lnTo>
                  <a:pt x="727" y="238"/>
                </a:lnTo>
                <a:lnTo>
                  <a:pt x="721" y="239"/>
                </a:lnTo>
                <a:lnTo>
                  <a:pt x="330" y="239"/>
                </a:lnTo>
                <a:lnTo>
                  <a:pt x="325" y="238"/>
                </a:lnTo>
                <a:lnTo>
                  <a:pt x="320" y="235"/>
                </a:lnTo>
                <a:lnTo>
                  <a:pt x="317" y="230"/>
                </a:lnTo>
                <a:lnTo>
                  <a:pt x="315" y="224"/>
                </a:lnTo>
                <a:lnTo>
                  <a:pt x="317" y="218"/>
                </a:lnTo>
                <a:lnTo>
                  <a:pt x="320" y="214"/>
                </a:lnTo>
                <a:lnTo>
                  <a:pt x="325" y="210"/>
                </a:lnTo>
                <a:lnTo>
                  <a:pt x="330" y="209"/>
                </a:lnTo>
                <a:lnTo>
                  <a:pt x="330" y="209"/>
                </a:lnTo>
                <a:close/>
                <a:moveTo>
                  <a:pt x="330" y="90"/>
                </a:moveTo>
                <a:lnTo>
                  <a:pt x="721" y="90"/>
                </a:lnTo>
                <a:lnTo>
                  <a:pt x="727" y="91"/>
                </a:lnTo>
                <a:lnTo>
                  <a:pt x="732" y="93"/>
                </a:lnTo>
                <a:lnTo>
                  <a:pt x="735" y="99"/>
                </a:lnTo>
                <a:lnTo>
                  <a:pt x="736" y="105"/>
                </a:lnTo>
                <a:lnTo>
                  <a:pt x="735" y="111"/>
                </a:lnTo>
                <a:lnTo>
                  <a:pt x="732" y="115"/>
                </a:lnTo>
                <a:lnTo>
                  <a:pt x="727" y="118"/>
                </a:lnTo>
                <a:lnTo>
                  <a:pt x="721" y="120"/>
                </a:lnTo>
                <a:lnTo>
                  <a:pt x="330" y="119"/>
                </a:lnTo>
                <a:lnTo>
                  <a:pt x="325" y="118"/>
                </a:lnTo>
                <a:lnTo>
                  <a:pt x="320" y="115"/>
                </a:lnTo>
                <a:lnTo>
                  <a:pt x="317" y="111"/>
                </a:lnTo>
                <a:lnTo>
                  <a:pt x="315" y="105"/>
                </a:lnTo>
                <a:lnTo>
                  <a:pt x="317" y="99"/>
                </a:lnTo>
                <a:lnTo>
                  <a:pt x="320" y="93"/>
                </a:lnTo>
                <a:lnTo>
                  <a:pt x="325" y="91"/>
                </a:lnTo>
                <a:lnTo>
                  <a:pt x="330" y="90"/>
                </a:lnTo>
                <a:close/>
                <a:moveTo>
                  <a:pt x="0" y="495"/>
                </a:moveTo>
                <a:lnTo>
                  <a:pt x="2" y="501"/>
                </a:lnTo>
                <a:lnTo>
                  <a:pt x="5" y="506"/>
                </a:lnTo>
                <a:lnTo>
                  <a:pt x="10" y="509"/>
                </a:lnTo>
                <a:lnTo>
                  <a:pt x="15" y="510"/>
                </a:lnTo>
                <a:lnTo>
                  <a:pt x="886" y="510"/>
                </a:lnTo>
                <a:lnTo>
                  <a:pt x="892" y="509"/>
                </a:lnTo>
                <a:lnTo>
                  <a:pt x="897" y="506"/>
                </a:lnTo>
                <a:lnTo>
                  <a:pt x="900" y="501"/>
                </a:lnTo>
                <a:lnTo>
                  <a:pt x="902" y="495"/>
                </a:lnTo>
                <a:lnTo>
                  <a:pt x="902" y="0"/>
                </a:lnTo>
                <a:lnTo>
                  <a:pt x="0" y="0"/>
                </a:lnTo>
                <a:lnTo>
                  <a:pt x="0" y="4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/>
          </a:p>
        </p:txBody>
      </p:sp>
      <p:sp>
        <p:nvSpPr>
          <p:cNvPr id="28" name="Freeform 4776">
            <a:extLst>
              <a:ext uri="{FF2B5EF4-FFF2-40B4-BE49-F238E27FC236}">
                <a16:creationId xmlns="" xmlns:a16="http://schemas.microsoft.com/office/drawing/2014/main" id="{C8092ED1-DF13-4A88-9140-B942AF4CC42C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424036"/>
            <a:ext cx="396000" cy="72000"/>
          </a:xfrm>
          <a:custGeom>
            <a:avLst/>
            <a:gdLst>
              <a:gd name="T0" fmla="*/ 745 w 902"/>
              <a:gd name="T1" fmla="*/ 149 h 210"/>
              <a:gd name="T2" fmla="*/ 735 w 902"/>
              <a:gd name="T3" fmla="*/ 144 h 210"/>
              <a:gd name="T4" fmla="*/ 727 w 902"/>
              <a:gd name="T5" fmla="*/ 136 h 210"/>
              <a:gd name="T6" fmla="*/ 722 w 902"/>
              <a:gd name="T7" fmla="*/ 126 h 210"/>
              <a:gd name="T8" fmla="*/ 722 w 902"/>
              <a:gd name="T9" fmla="*/ 114 h 210"/>
              <a:gd name="T10" fmla="*/ 727 w 902"/>
              <a:gd name="T11" fmla="*/ 104 h 210"/>
              <a:gd name="T12" fmla="*/ 735 w 902"/>
              <a:gd name="T13" fmla="*/ 96 h 210"/>
              <a:gd name="T14" fmla="*/ 745 w 902"/>
              <a:gd name="T15" fmla="*/ 91 h 210"/>
              <a:gd name="T16" fmla="*/ 758 w 902"/>
              <a:gd name="T17" fmla="*/ 91 h 210"/>
              <a:gd name="T18" fmla="*/ 768 w 902"/>
              <a:gd name="T19" fmla="*/ 96 h 210"/>
              <a:gd name="T20" fmla="*/ 776 w 902"/>
              <a:gd name="T21" fmla="*/ 104 h 210"/>
              <a:gd name="T22" fmla="*/ 781 w 902"/>
              <a:gd name="T23" fmla="*/ 114 h 210"/>
              <a:gd name="T24" fmla="*/ 781 w 902"/>
              <a:gd name="T25" fmla="*/ 126 h 210"/>
              <a:gd name="T26" fmla="*/ 776 w 902"/>
              <a:gd name="T27" fmla="*/ 136 h 210"/>
              <a:gd name="T28" fmla="*/ 768 w 902"/>
              <a:gd name="T29" fmla="*/ 144 h 210"/>
              <a:gd name="T30" fmla="*/ 757 w 902"/>
              <a:gd name="T31" fmla="*/ 149 h 210"/>
              <a:gd name="T32" fmla="*/ 751 w 902"/>
              <a:gd name="T33" fmla="*/ 150 h 210"/>
              <a:gd name="T34" fmla="*/ 625 w 902"/>
              <a:gd name="T35" fmla="*/ 149 h 210"/>
              <a:gd name="T36" fmla="*/ 614 w 902"/>
              <a:gd name="T37" fmla="*/ 144 h 210"/>
              <a:gd name="T38" fmla="*/ 606 w 902"/>
              <a:gd name="T39" fmla="*/ 136 h 210"/>
              <a:gd name="T40" fmla="*/ 602 w 902"/>
              <a:gd name="T41" fmla="*/ 126 h 210"/>
              <a:gd name="T42" fmla="*/ 602 w 902"/>
              <a:gd name="T43" fmla="*/ 114 h 210"/>
              <a:gd name="T44" fmla="*/ 606 w 902"/>
              <a:gd name="T45" fmla="*/ 104 h 210"/>
              <a:gd name="T46" fmla="*/ 614 w 902"/>
              <a:gd name="T47" fmla="*/ 96 h 210"/>
              <a:gd name="T48" fmla="*/ 625 w 902"/>
              <a:gd name="T49" fmla="*/ 91 h 210"/>
              <a:gd name="T50" fmla="*/ 637 w 902"/>
              <a:gd name="T51" fmla="*/ 91 h 210"/>
              <a:gd name="T52" fmla="*/ 648 w 902"/>
              <a:gd name="T53" fmla="*/ 96 h 210"/>
              <a:gd name="T54" fmla="*/ 656 w 902"/>
              <a:gd name="T55" fmla="*/ 104 h 210"/>
              <a:gd name="T56" fmla="*/ 661 w 902"/>
              <a:gd name="T57" fmla="*/ 114 h 210"/>
              <a:gd name="T58" fmla="*/ 661 w 902"/>
              <a:gd name="T59" fmla="*/ 126 h 210"/>
              <a:gd name="T60" fmla="*/ 656 w 902"/>
              <a:gd name="T61" fmla="*/ 136 h 210"/>
              <a:gd name="T62" fmla="*/ 648 w 902"/>
              <a:gd name="T63" fmla="*/ 144 h 210"/>
              <a:gd name="T64" fmla="*/ 637 w 902"/>
              <a:gd name="T65" fmla="*/ 149 h 210"/>
              <a:gd name="T66" fmla="*/ 632 w 902"/>
              <a:gd name="T67" fmla="*/ 150 h 210"/>
              <a:gd name="T68" fmla="*/ 505 w 902"/>
              <a:gd name="T69" fmla="*/ 149 h 210"/>
              <a:gd name="T70" fmla="*/ 494 w 902"/>
              <a:gd name="T71" fmla="*/ 144 h 210"/>
              <a:gd name="T72" fmla="*/ 486 w 902"/>
              <a:gd name="T73" fmla="*/ 136 h 210"/>
              <a:gd name="T74" fmla="*/ 481 w 902"/>
              <a:gd name="T75" fmla="*/ 126 h 210"/>
              <a:gd name="T76" fmla="*/ 481 w 902"/>
              <a:gd name="T77" fmla="*/ 114 h 210"/>
              <a:gd name="T78" fmla="*/ 486 w 902"/>
              <a:gd name="T79" fmla="*/ 104 h 210"/>
              <a:gd name="T80" fmla="*/ 494 w 902"/>
              <a:gd name="T81" fmla="*/ 96 h 210"/>
              <a:gd name="T82" fmla="*/ 505 w 902"/>
              <a:gd name="T83" fmla="*/ 91 h 210"/>
              <a:gd name="T84" fmla="*/ 517 w 902"/>
              <a:gd name="T85" fmla="*/ 91 h 210"/>
              <a:gd name="T86" fmla="*/ 527 w 902"/>
              <a:gd name="T87" fmla="*/ 96 h 210"/>
              <a:gd name="T88" fmla="*/ 535 w 902"/>
              <a:gd name="T89" fmla="*/ 104 h 210"/>
              <a:gd name="T90" fmla="*/ 540 w 902"/>
              <a:gd name="T91" fmla="*/ 114 h 210"/>
              <a:gd name="T92" fmla="*/ 540 w 902"/>
              <a:gd name="T93" fmla="*/ 126 h 210"/>
              <a:gd name="T94" fmla="*/ 535 w 902"/>
              <a:gd name="T95" fmla="*/ 136 h 210"/>
              <a:gd name="T96" fmla="*/ 527 w 902"/>
              <a:gd name="T97" fmla="*/ 144 h 210"/>
              <a:gd name="T98" fmla="*/ 517 w 902"/>
              <a:gd name="T99" fmla="*/ 149 h 210"/>
              <a:gd name="T100" fmla="*/ 511 w 902"/>
              <a:gd name="T101" fmla="*/ 150 h 210"/>
              <a:gd name="T102" fmla="*/ 15 w 902"/>
              <a:gd name="T103" fmla="*/ 0 h 210"/>
              <a:gd name="T104" fmla="*/ 5 w 902"/>
              <a:gd name="T105" fmla="*/ 4 h 210"/>
              <a:gd name="T106" fmla="*/ 0 w 902"/>
              <a:gd name="T107" fmla="*/ 15 h 210"/>
              <a:gd name="T108" fmla="*/ 902 w 902"/>
              <a:gd name="T109" fmla="*/ 210 h 210"/>
              <a:gd name="T110" fmla="*/ 900 w 902"/>
              <a:gd name="T111" fmla="*/ 9 h 210"/>
              <a:gd name="T112" fmla="*/ 892 w 902"/>
              <a:gd name="T113" fmla="*/ 1 h 210"/>
              <a:gd name="T114" fmla="*/ 886 w 902"/>
              <a:gd name="T115" fmla="*/ 0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02" h="210">
                <a:moveTo>
                  <a:pt x="751" y="150"/>
                </a:moveTo>
                <a:lnTo>
                  <a:pt x="745" y="149"/>
                </a:lnTo>
                <a:lnTo>
                  <a:pt x="739" y="148"/>
                </a:lnTo>
                <a:lnTo>
                  <a:pt x="735" y="144"/>
                </a:lnTo>
                <a:lnTo>
                  <a:pt x="730" y="141"/>
                </a:lnTo>
                <a:lnTo>
                  <a:pt x="727" y="136"/>
                </a:lnTo>
                <a:lnTo>
                  <a:pt x="723" y="132"/>
                </a:lnTo>
                <a:lnTo>
                  <a:pt x="722" y="126"/>
                </a:lnTo>
                <a:lnTo>
                  <a:pt x="721" y="120"/>
                </a:lnTo>
                <a:lnTo>
                  <a:pt x="722" y="114"/>
                </a:lnTo>
                <a:lnTo>
                  <a:pt x="723" y="109"/>
                </a:lnTo>
                <a:lnTo>
                  <a:pt x="727" y="104"/>
                </a:lnTo>
                <a:lnTo>
                  <a:pt x="730" y="99"/>
                </a:lnTo>
                <a:lnTo>
                  <a:pt x="735" y="96"/>
                </a:lnTo>
                <a:lnTo>
                  <a:pt x="739" y="92"/>
                </a:lnTo>
                <a:lnTo>
                  <a:pt x="745" y="91"/>
                </a:lnTo>
                <a:lnTo>
                  <a:pt x="751" y="90"/>
                </a:lnTo>
                <a:lnTo>
                  <a:pt x="758" y="91"/>
                </a:lnTo>
                <a:lnTo>
                  <a:pt x="763" y="92"/>
                </a:lnTo>
                <a:lnTo>
                  <a:pt x="768" y="96"/>
                </a:lnTo>
                <a:lnTo>
                  <a:pt x="773" y="99"/>
                </a:lnTo>
                <a:lnTo>
                  <a:pt x="776" y="104"/>
                </a:lnTo>
                <a:lnTo>
                  <a:pt x="779" y="109"/>
                </a:lnTo>
                <a:lnTo>
                  <a:pt x="781" y="114"/>
                </a:lnTo>
                <a:lnTo>
                  <a:pt x="781" y="120"/>
                </a:lnTo>
                <a:lnTo>
                  <a:pt x="781" y="126"/>
                </a:lnTo>
                <a:lnTo>
                  <a:pt x="779" y="132"/>
                </a:lnTo>
                <a:lnTo>
                  <a:pt x="776" y="136"/>
                </a:lnTo>
                <a:lnTo>
                  <a:pt x="773" y="141"/>
                </a:lnTo>
                <a:lnTo>
                  <a:pt x="768" y="144"/>
                </a:lnTo>
                <a:lnTo>
                  <a:pt x="763" y="148"/>
                </a:lnTo>
                <a:lnTo>
                  <a:pt x="757" y="149"/>
                </a:lnTo>
                <a:lnTo>
                  <a:pt x="751" y="150"/>
                </a:lnTo>
                <a:lnTo>
                  <a:pt x="751" y="150"/>
                </a:lnTo>
                <a:close/>
                <a:moveTo>
                  <a:pt x="632" y="150"/>
                </a:moveTo>
                <a:lnTo>
                  <a:pt x="625" y="149"/>
                </a:lnTo>
                <a:lnTo>
                  <a:pt x="619" y="148"/>
                </a:lnTo>
                <a:lnTo>
                  <a:pt x="614" y="144"/>
                </a:lnTo>
                <a:lnTo>
                  <a:pt x="610" y="141"/>
                </a:lnTo>
                <a:lnTo>
                  <a:pt x="606" y="136"/>
                </a:lnTo>
                <a:lnTo>
                  <a:pt x="604" y="132"/>
                </a:lnTo>
                <a:lnTo>
                  <a:pt x="602" y="126"/>
                </a:lnTo>
                <a:lnTo>
                  <a:pt x="602" y="120"/>
                </a:lnTo>
                <a:lnTo>
                  <a:pt x="602" y="114"/>
                </a:lnTo>
                <a:lnTo>
                  <a:pt x="604" y="109"/>
                </a:lnTo>
                <a:lnTo>
                  <a:pt x="606" y="104"/>
                </a:lnTo>
                <a:lnTo>
                  <a:pt x="610" y="99"/>
                </a:lnTo>
                <a:lnTo>
                  <a:pt x="614" y="96"/>
                </a:lnTo>
                <a:lnTo>
                  <a:pt x="619" y="92"/>
                </a:lnTo>
                <a:lnTo>
                  <a:pt x="625" y="91"/>
                </a:lnTo>
                <a:lnTo>
                  <a:pt x="632" y="90"/>
                </a:lnTo>
                <a:lnTo>
                  <a:pt x="637" y="91"/>
                </a:lnTo>
                <a:lnTo>
                  <a:pt x="643" y="92"/>
                </a:lnTo>
                <a:lnTo>
                  <a:pt x="648" y="96"/>
                </a:lnTo>
                <a:lnTo>
                  <a:pt x="652" y="99"/>
                </a:lnTo>
                <a:lnTo>
                  <a:pt x="656" y="104"/>
                </a:lnTo>
                <a:lnTo>
                  <a:pt x="658" y="109"/>
                </a:lnTo>
                <a:lnTo>
                  <a:pt x="661" y="114"/>
                </a:lnTo>
                <a:lnTo>
                  <a:pt x="661" y="120"/>
                </a:lnTo>
                <a:lnTo>
                  <a:pt x="661" y="126"/>
                </a:lnTo>
                <a:lnTo>
                  <a:pt x="658" y="132"/>
                </a:lnTo>
                <a:lnTo>
                  <a:pt x="656" y="136"/>
                </a:lnTo>
                <a:lnTo>
                  <a:pt x="652" y="141"/>
                </a:lnTo>
                <a:lnTo>
                  <a:pt x="648" y="144"/>
                </a:lnTo>
                <a:lnTo>
                  <a:pt x="643" y="148"/>
                </a:lnTo>
                <a:lnTo>
                  <a:pt x="637" y="149"/>
                </a:lnTo>
                <a:lnTo>
                  <a:pt x="632" y="150"/>
                </a:lnTo>
                <a:lnTo>
                  <a:pt x="632" y="150"/>
                </a:lnTo>
                <a:close/>
                <a:moveTo>
                  <a:pt x="511" y="150"/>
                </a:moveTo>
                <a:lnTo>
                  <a:pt x="505" y="149"/>
                </a:lnTo>
                <a:lnTo>
                  <a:pt x="500" y="148"/>
                </a:lnTo>
                <a:lnTo>
                  <a:pt x="494" y="144"/>
                </a:lnTo>
                <a:lnTo>
                  <a:pt x="489" y="141"/>
                </a:lnTo>
                <a:lnTo>
                  <a:pt x="486" y="136"/>
                </a:lnTo>
                <a:lnTo>
                  <a:pt x="483" y="132"/>
                </a:lnTo>
                <a:lnTo>
                  <a:pt x="481" y="126"/>
                </a:lnTo>
                <a:lnTo>
                  <a:pt x="481" y="120"/>
                </a:lnTo>
                <a:lnTo>
                  <a:pt x="481" y="114"/>
                </a:lnTo>
                <a:lnTo>
                  <a:pt x="483" y="109"/>
                </a:lnTo>
                <a:lnTo>
                  <a:pt x="486" y="104"/>
                </a:lnTo>
                <a:lnTo>
                  <a:pt x="489" y="99"/>
                </a:lnTo>
                <a:lnTo>
                  <a:pt x="494" y="96"/>
                </a:lnTo>
                <a:lnTo>
                  <a:pt x="500" y="92"/>
                </a:lnTo>
                <a:lnTo>
                  <a:pt x="505" y="91"/>
                </a:lnTo>
                <a:lnTo>
                  <a:pt x="511" y="90"/>
                </a:lnTo>
                <a:lnTo>
                  <a:pt x="517" y="91"/>
                </a:lnTo>
                <a:lnTo>
                  <a:pt x="523" y="92"/>
                </a:lnTo>
                <a:lnTo>
                  <a:pt x="527" y="96"/>
                </a:lnTo>
                <a:lnTo>
                  <a:pt x="532" y="99"/>
                </a:lnTo>
                <a:lnTo>
                  <a:pt x="535" y="104"/>
                </a:lnTo>
                <a:lnTo>
                  <a:pt x="539" y="109"/>
                </a:lnTo>
                <a:lnTo>
                  <a:pt x="540" y="114"/>
                </a:lnTo>
                <a:lnTo>
                  <a:pt x="541" y="120"/>
                </a:lnTo>
                <a:lnTo>
                  <a:pt x="540" y="126"/>
                </a:lnTo>
                <a:lnTo>
                  <a:pt x="539" y="132"/>
                </a:lnTo>
                <a:lnTo>
                  <a:pt x="535" y="136"/>
                </a:lnTo>
                <a:lnTo>
                  <a:pt x="532" y="141"/>
                </a:lnTo>
                <a:lnTo>
                  <a:pt x="527" y="144"/>
                </a:lnTo>
                <a:lnTo>
                  <a:pt x="523" y="148"/>
                </a:lnTo>
                <a:lnTo>
                  <a:pt x="517" y="149"/>
                </a:lnTo>
                <a:lnTo>
                  <a:pt x="511" y="150"/>
                </a:lnTo>
                <a:lnTo>
                  <a:pt x="511" y="150"/>
                </a:lnTo>
                <a:close/>
                <a:moveTo>
                  <a:pt x="886" y="0"/>
                </a:moveTo>
                <a:lnTo>
                  <a:pt x="15" y="0"/>
                </a:lnTo>
                <a:lnTo>
                  <a:pt x="10" y="1"/>
                </a:lnTo>
                <a:lnTo>
                  <a:pt x="5" y="4"/>
                </a:lnTo>
                <a:lnTo>
                  <a:pt x="2" y="9"/>
                </a:lnTo>
                <a:lnTo>
                  <a:pt x="0" y="15"/>
                </a:lnTo>
                <a:lnTo>
                  <a:pt x="0" y="210"/>
                </a:lnTo>
                <a:lnTo>
                  <a:pt x="902" y="210"/>
                </a:lnTo>
                <a:lnTo>
                  <a:pt x="902" y="15"/>
                </a:lnTo>
                <a:lnTo>
                  <a:pt x="900" y="9"/>
                </a:lnTo>
                <a:lnTo>
                  <a:pt x="897" y="4"/>
                </a:lnTo>
                <a:lnTo>
                  <a:pt x="892" y="1"/>
                </a:lnTo>
                <a:lnTo>
                  <a:pt x="886" y="0"/>
                </a:lnTo>
                <a:lnTo>
                  <a:pt x="88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文字方塊 10"/>
          <p:cNvSpPr txBox="1"/>
          <p:nvPr/>
        </p:nvSpPr>
        <p:spPr>
          <a:xfrm>
            <a:off x="313913" y="1371600"/>
            <a:ext cx="5179082" cy="537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</a:t>
            </a:r>
            <a:r>
              <a:rPr lang="zh-TW" altLang="en-US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如何</a:t>
            </a:r>
            <a:r>
              <a:rPr lang="zh-TW" altLang="en-US" sz="22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從詳目頁按鈕確認</a:t>
            </a:r>
            <a:r>
              <a:rPr lang="zh-TW" altLang="en-US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書籍狀態</a:t>
            </a:r>
            <a:r>
              <a:rPr lang="en-US" altLang="zh-TW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?</a:t>
            </a:r>
            <a:endParaRPr lang="en-US" altLang="zh-TW" sz="2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3" name="圖片 12"/>
          <p:cNvPicPr/>
          <p:nvPr/>
        </p:nvPicPr>
        <p:blipFill rotWithShape="1">
          <a:blip r:embed="rId2"/>
          <a:srcRect b="4191"/>
          <a:stretch/>
        </p:blipFill>
        <p:spPr>
          <a:xfrm>
            <a:off x="897890" y="2133600"/>
            <a:ext cx="5274310" cy="3079668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2" descr="https://i.gyazo.com/8de4e1ae43f5bc8907a1f57d58f30ef2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69"/>
          <a:stretch/>
        </p:blipFill>
        <p:spPr bwMode="auto">
          <a:xfrm>
            <a:off x="6327462" y="2438400"/>
            <a:ext cx="1063938" cy="2196000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https://i.gyazo.com/16774aab921fa12eb1497e5105f0253a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527338" y="2439390"/>
            <a:ext cx="1083262" cy="2196000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肘形接點 16"/>
          <p:cNvCxnSpPr/>
          <p:nvPr/>
        </p:nvCxnSpPr>
        <p:spPr>
          <a:xfrm rot="5400000">
            <a:off x="6191372" y="3963676"/>
            <a:ext cx="619480" cy="2028110"/>
          </a:xfrm>
          <a:prstGeom prst="bentConnector2">
            <a:avLst/>
          </a:prstGeom>
          <a:ln w="38100">
            <a:solidFill>
              <a:srgbClr val="FF5050"/>
            </a:solidFill>
            <a:tailEnd type="arrow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8" name="文字方塊 17"/>
          <p:cNvSpPr txBox="1"/>
          <p:nvPr/>
        </p:nvSpPr>
        <p:spPr>
          <a:xfrm>
            <a:off x="307975" y="4433455"/>
            <a:ext cx="4797425" cy="221599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>
                <a:lumMod val="60000"/>
                <a:lumOff val="40000"/>
              </a:schemeClr>
            </a:solidFill>
          </a:ln>
          <a:effectLst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TW" sz="1600" b="1" dirty="0" smtClean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R</a:t>
            </a:r>
            <a:r>
              <a:rPr lang="zh-TW" altLang="en-US" sz="1600" b="1" dirty="0" smtClean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600" b="1" dirty="0" smtClean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ode</a:t>
            </a:r>
            <a:r>
              <a:rPr lang="zh-TW" altLang="en-US" sz="1600" b="1" dirty="0" smtClean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掃描：</a:t>
            </a:r>
            <a:endParaRPr lang="en-US" altLang="zh-TW" sz="1600" b="1" dirty="0" smtClean="0">
              <a:solidFill>
                <a:schemeClr val="accent6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sz="1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以</a:t>
            </a:r>
            <a:r>
              <a:rPr lang="en-US" altLang="zh-TW" sz="1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iriti Reader APP</a:t>
            </a:r>
            <a:r>
              <a:rPr lang="zh-TW" altLang="en-US" sz="1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掃描後，跳至</a:t>
            </a:r>
            <a:r>
              <a:rPr lang="en-US" altLang="zh-TW" sz="1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PP</a:t>
            </a:r>
            <a:r>
              <a:rPr lang="zh-TW" altLang="en-US" sz="1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書籍詳目頁借書。</a:t>
            </a:r>
            <a:endParaRPr lang="en-US" altLang="zh-TW" sz="1400" b="1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600" b="1" dirty="0" smtClean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線上看、試閱：</a:t>
            </a:r>
            <a:endParaRPr lang="en-US" altLang="zh-TW" sz="1600" b="1" dirty="0" smtClean="0">
              <a:solidFill>
                <a:schemeClr val="accent6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sz="1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線上看可開啟</a:t>
            </a:r>
            <a:r>
              <a:rPr lang="en-US" altLang="zh-TW" sz="1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Viewer</a:t>
            </a:r>
            <a:r>
              <a:rPr lang="zh-TW" altLang="en-US" sz="1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閱讀全文；試閱僅可閱讀部分</a:t>
            </a:r>
            <a:r>
              <a:rPr lang="en-US" altLang="zh-TW" sz="1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r>
              <a:rPr lang="zh-TW" altLang="en-US" sz="1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數。</a:t>
            </a:r>
            <a:endParaRPr lang="en-US" altLang="zh-TW" sz="1400" b="1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600" b="1" dirty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借書</a:t>
            </a:r>
            <a:r>
              <a:rPr lang="zh-TW" altLang="en-US" sz="1600" b="1" dirty="0" smtClean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、推薦採購：</a:t>
            </a:r>
            <a:endParaRPr lang="en-US" altLang="zh-TW" sz="1600" b="1" dirty="0" smtClean="0">
              <a:solidFill>
                <a:schemeClr val="accent6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sz="1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借書需先登入；若單位未購買此書，讀者可推薦單位採購。</a:t>
            </a:r>
            <a:endParaRPr lang="zh-TW" altLang="en-US" sz="14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4970619" y="2362200"/>
            <a:ext cx="3792381" cy="2305791"/>
          </a:xfrm>
          <a:prstGeom prst="rect">
            <a:avLst/>
          </a:prstGeom>
          <a:noFill/>
          <a:ln w="38100"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9" name="矩形 18"/>
          <p:cNvSpPr/>
          <p:nvPr/>
        </p:nvSpPr>
        <p:spPr>
          <a:xfrm>
            <a:off x="5181600" y="1981200"/>
            <a:ext cx="914400" cy="288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館藏書</a:t>
            </a:r>
            <a:endParaRPr lang="zh-TW" altLang="en-US" sz="14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6231338" y="1975746"/>
            <a:ext cx="1296000" cy="288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跨館</a:t>
            </a:r>
            <a:r>
              <a:rPr lang="zh-TW" altLang="en-US" sz="1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借閱</a:t>
            </a:r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書籍</a:t>
            </a:r>
            <a:endParaRPr lang="zh-TW" altLang="en-US" sz="14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7620001" y="1975746"/>
            <a:ext cx="1075031" cy="293454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單位未採購</a:t>
            </a:r>
            <a:endParaRPr lang="zh-TW" altLang="en-US" sz="14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8519965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標題 2"/>
          <p:cNvSpPr>
            <a:spLocks noGrp="1"/>
          </p:cNvSpPr>
          <p:nvPr>
            <p:ph type="ctrTitle"/>
          </p:nvPr>
        </p:nvSpPr>
        <p:spPr>
          <a:xfrm>
            <a:off x="2388293" y="192006"/>
            <a:ext cx="5029200" cy="914400"/>
          </a:xfrm>
        </p:spPr>
        <p:txBody>
          <a:bodyPr>
            <a:normAutofit/>
          </a:bodyPr>
          <a:lstStyle/>
          <a:p>
            <a:pPr algn="l"/>
            <a:r>
              <a:rPr lang="zh-TW" altLang="en-US" sz="36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功能說明</a:t>
            </a:r>
            <a:endParaRPr lang="zh-TW" altLang="en-US" sz="32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/>
          </a:p>
        </p:txBody>
      </p:sp>
      <p:sp>
        <p:nvSpPr>
          <p:cNvPr id="27" name="Freeform 4777">
            <a:extLst>
              <a:ext uri="{FF2B5EF4-FFF2-40B4-BE49-F238E27FC236}">
                <a16:creationId xmlns="" xmlns:a16="http://schemas.microsoft.com/office/drawing/2014/main" id="{8C2F6FD5-B324-40F5-B07F-DCC3F9F9DA63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536856"/>
            <a:ext cx="396000" cy="288000"/>
          </a:xfrm>
          <a:custGeom>
            <a:avLst/>
            <a:gdLst>
              <a:gd name="T0" fmla="*/ 216 w 902"/>
              <a:gd name="T1" fmla="*/ 331 h 510"/>
              <a:gd name="T2" fmla="*/ 225 w 902"/>
              <a:gd name="T3" fmla="*/ 345 h 510"/>
              <a:gd name="T4" fmla="*/ 216 w 902"/>
              <a:gd name="T5" fmla="*/ 359 h 510"/>
              <a:gd name="T6" fmla="*/ 145 w 902"/>
              <a:gd name="T7" fmla="*/ 359 h 510"/>
              <a:gd name="T8" fmla="*/ 136 w 902"/>
              <a:gd name="T9" fmla="*/ 345 h 510"/>
              <a:gd name="T10" fmla="*/ 145 w 902"/>
              <a:gd name="T11" fmla="*/ 331 h 510"/>
              <a:gd name="T12" fmla="*/ 151 w 902"/>
              <a:gd name="T13" fmla="*/ 209 h 510"/>
              <a:gd name="T14" fmla="*/ 222 w 902"/>
              <a:gd name="T15" fmla="*/ 214 h 510"/>
              <a:gd name="T16" fmla="*/ 224 w 902"/>
              <a:gd name="T17" fmla="*/ 230 h 510"/>
              <a:gd name="T18" fmla="*/ 210 w 902"/>
              <a:gd name="T19" fmla="*/ 239 h 510"/>
              <a:gd name="T20" fmla="*/ 139 w 902"/>
              <a:gd name="T21" fmla="*/ 235 h 510"/>
              <a:gd name="T22" fmla="*/ 137 w 902"/>
              <a:gd name="T23" fmla="*/ 218 h 510"/>
              <a:gd name="T24" fmla="*/ 151 w 902"/>
              <a:gd name="T25" fmla="*/ 209 h 510"/>
              <a:gd name="T26" fmla="*/ 210 w 902"/>
              <a:gd name="T27" fmla="*/ 90 h 510"/>
              <a:gd name="T28" fmla="*/ 224 w 902"/>
              <a:gd name="T29" fmla="*/ 99 h 510"/>
              <a:gd name="T30" fmla="*/ 222 w 902"/>
              <a:gd name="T31" fmla="*/ 115 h 510"/>
              <a:gd name="T32" fmla="*/ 151 w 902"/>
              <a:gd name="T33" fmla="*/ 119 h 510"/>
              <a:gd name="T34" fmla="*/ 137 w 902"/>
              <a:gd name="T35" fmla="*/ 111 h 510"/>
              <a:gd name="T36" fmla="*/ 139 w 902"/>
              <a:gd name="T37" fmla="*/ 93 h 510"/>
              <a:gd name="T38" fmla="*/ 330 w 902"/>
              <a:gd name="T39" fmla="*/ 330 h 510"/>
              <a:gd name="T40" fmla="*/ 732 w 902"/>
              <a:gd name="T41" fmla="*/ 334 h 510"/>
              <a:gd name="T42" fmla="*/ 735 w 902"/>
              <a:gd name="T43" fmla="*/ 350 h 510"/>
              <a:gd name="T44" fmla="*/ 721 w 902"/>
              <a:gd name="T45" fmla="*/ 360 h 510"/>
              <a:gd name="T46" fmla="*/ 320 w 902"/>
              <a:gd name="T47" fmla="*/ 355 h 510"/>
              <a:gd name="T48" fmla="*/ 317 w 902"/>
              <a:gd name="T49" fmla="*/ 339 h 510"/>
              <a:gd name="T50" fmla="*/ 330 w 902"/>
              <a:gd name="T51" fmla="*/ 330 h 510"/>
              <a:gd name="T52" fmla="*/ 721 w 902"/>
              <a:gd name="T53" fmla="*/ 209 h 510"/>
              <a:gd name="T54" fmla="*/ 735 w 902"/>
              <a:gd name="T55" fmla="*/ 218 h 510"/>
              <a:gd name="T56" fmla="*/ 732 w 902"/>
              <a:gd name="T57" fmla="*/ 235 h 510"/>
              <a:gd name="T58" fmla="*/ 330 w 902"/>
              <a:gd name="T59" fmla="*/ 239 h 510"/>
              <a:gd name="T60" fmla="*/ 317 w 902"/>
              <a:gd name="T61" fmla="*/ 230 h 510"/>
              <a:gd name="T62" fmla="*/ 320 w 902"/>
              <a:gd name="T63" fmla="*/ 214 h 510"/>
              <a:gd name="T64" fmla="*/ 330 w 902"/>
              <a:gd name="T65" fmla="*/ 209 h 510"/>
              <a:gd name="T66" fmla="*/ 727 w 902"/>
              <a:gd name="T67" fmla="*/ 91 h 510"/>
              <a:gd name="T68" fmla="*/ 736 w 902"/>
              <a:gd name="T69" fmla="*/ 105 h 510"/>
              <a:gd name="T70" fmla="*/ 727 w 902"/>
              <a:gd name="T71" fmla="*/ 118 h 510"/>
              <a:gd name="T72" fmla="*/ 325 w 902"/>
              <a:gd name="T73" fmla="*/ 118 h 510"/>
              <a:gd name="T74" fmla="*/ 315 w 902"/>
              <a:gd name="T75" fmla="*/ 105 h 510"/>
              <a:gd name="T76" fmla="*/ 325 w 902"/>
              <a:gd name="T77" fmla="*/ 91 h 510"/>
              <a:gd name="T78" fmla="*/ 2 w 902"/>
              <a:gd name="T79" fmla="*/ 501 h 510"/>
              <a:gd name="T80" fmla="*/ 15 w 902"/>
              <a:gd name="T81" fmla="*/ 510 h 510"/>
              <a:gd name="T82" fmla="*/ 897 w 902"/>
              <a:gd name="T83" fmla="*/ 506 h 510"/>
              <a:gd name="T84" fmla="*/ 902 w 902"/>
              <a:gd name="T85" fmla="*/ 0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02" h="510">
                <a:moveTo>
                  <a:pt x="151" y="330"/>
                </a:moveTo>
                <a:lnTo>
                  <a:pt x="210" y="330"/>
                </a:lnTo>
                <a:lnTo>
                  <a:pt x="216" y="331"/>
                </a:lnTo>
                <a:lnTo>
                  <a:pt x="222" y="334"/>
                </a:lnTo>
                <a:lnTo>
                  <a:pt x="224" y="339"/>
                </a:lnTo>
                <a:lnTo>
                  <a:pt x="225" y="345"/>
                </a:lnTo>
                <a:lnTo>
                  <a:pt x="224" y="350"/>
                </a:lnTo>
                <a:lnTo>
                  <a:pt x="222" y="355"/>
                </a:lnTo>
                <a:lnTo>
                  <a:pt x="216" y="359"/>
                </a:lnTo>
                <a:lnTo>
                  <a:pt x="210" y="360"/>
                </a:lnTo>
                <a:lnTo>
                  <a:pt x="151" y="360"/>
                </a:lnTo>
                <a:lnTo>
                  <a:pt x="145" y="359"/>
                </a:lnTo>
                <a:lnTo>
                  <a:pt x="139" y="355"/>
                </a:lnTo>
                <a:lnTo>
                  <a:pt x="137" y="350"/>
                </a:lnTo>
                <a:lnTo>
                  <a:pt x="136" y="345"/>
                </a:lnTo>
                <a:lnTo>
                  <a:pt x="137" y="339"/>
                </a:lnTo>
                <a:lnTo>
                  <a:pt x="139" y="334"/>
                </a:lnTo>
                <a:lnTo>
                  <a:pt x="145" y="331"/>
                </a:lnTo>
                <a:lnTo>
                  <a:pt x="151" y="330"/>
                </a:lnTo>
                <a:lnTo>
                  <a:pt x="151" y="330"/>
                </a:lnTo>
                <a:close/>
                <a:moveTo>
                  <a:pt x="151" y="209"/>
                </a:moveTo>
                <a:lnTo>
                  <a:pt x="210" y="209"/>
                </a:lnTo>
                <a:lnTo>
                  <a:pt x="216" y="210"/>
                </a:lnTo>
                <a:lnTo>
                  <a:pt x="222" y="214"/>
                </a:lnTo>
                <a:lnTo>
                  <a:pt x="224" y="218"/>
                </a:lnTo>
                <a:lnTo>
                  <a:pt x="225" y="224"/>
                </a:lnTo>
                <a:lnTo>
                  <a:pt x="224" y="230"/>
                </a:lnTo>
                <a:lnTo>
                  <a:pt x="222" y="235"/>
                </a:lnTo>
                <a:lnTo>
                  <a:pt x="216" y="238"/>
                </a:lnTo>
                <a:lnTo>
                  <a:pt x="210" y="239"/>
                </a:lnTo>
                <a:lnTo>
                  <a:pt x="151" y="239"/>
                </a:lnTo>
                <a:lnTo>
                  <a:pt x="145" y="238"/>
                </a:lnTo>
                <a:lnTo>
                  <a:pt x="139" y="235"/>
                </a:lnTo>
                <a:lnTo>
                  <a:pt x="137" y="230"/>
                </a:lnTo>
                <a:lnTo>
                  <a:pt x="136" y="224"/>
                </a:lnTo>
                <a:lnTo>
                  <a:pt x="137" y="218"/>
                </a:lnTo>
                <a:lnTo>
                  <a:pt x="139" y="214"/>
                </a:lnTo>
                <a:lnTo>
                  <a:pt x="145" y="210"/>
                </a:lnTo>
                <a:lnTo>
                  <a:pt x="151" y="209"/>
                </a:lnTo>
                <a:lnTo>
                  <a:pt x="151" y="209"/>
                </a:lnTo>
                <a:close/>
                <a:moveTo>
                  <a:pt x="151" y="90"/>
                </a:moveTo>
                <a:lnTo>
                  <a:pt x="210" y="90"/>
                </a:lnTo>
                <a:lnTo>
                  <a:pt x="216" y="91"/>
                </a:lnTo>
                <a:lnTo>
                  <a:pt x="222" y="93"/>
                </a:lnTo>
                <a:lnTo>
                  <a:pt x="224" y="99"/>
                </a:lnTo>
                <a:lnTo>
                  <a:pt x="225" y="105"/>
                </a:lnTo>
                <a:lnTo>
                  <a:pt x="224" y="111"/>
                </a:lnTo>
                <a:lnTo>
                  <a:pt x="222" y="115"/>
                </a:lnTo>
                <a:lnTo>
                  <a:pt x="216" y="118"/>
                </a:lnTo>
                <a:lnTo>
                  <a:pt x="210" y="120"/>
                </a:lnTo>
                <a:lnTo>
                  <a:pt x="151" y="119"/>
                </a:lnTo>
                <a:lnTo>
                  <a:pt x="145" y="118"/>
                </a:lnTo>
                <a:lnTo>
                  <a:pt x="139" y="115"/>
                </a:lnTo>
                <a:lnTo>
                  <a:pt x="137" y="111"/>
                </a:lnTo>
                <a:lnTo>
                  <a:pt x="136" y="105"/>
                </a:lnTo>
                <a:lnTo>
                  <a:pt x="137" y="99"/>
                </a:lnTo>
                <a:lnTo>
                  <a:pt x="139" y="93"/>
                </a:lnTo>
                <a:lnTo>
                  <a:pt x="145" y="91"/>
                </a:lnTo>
                <a:lnTo>
                  <a:pt x="151" y="90"/>
                </a:lnTo>
                <a:close/>
                <a:moveTo>
                  <a:pt x="330" y="330"/>
                </a:moveTo>
                <a:lnTo>
                  <a:pt x="721" y="330"/>
                </a:lnTo>
                <a:lnTo>
                  <a:pt x="727" y="331"/>
                </a:lnTo>
                <a:lnTo>
                  <a:pt x="732" y="334"/>
                </a:lnTo>
                <a:lnTo>
                  <a:pt x="735" y="339"/>
                </a:lnTo>
                <a:lnTo>
                  <a:pt x="736" y="345"/>
                </a:lnTo>
                <a:lnTo>
                  <a:pt x="735" y="350"/>
                </a:lnTo>
                <a:lnTo>
                  <a:pt x="732" y="355"/>
                </a:lnTo>
                <a:lnTo>
                  <a:pt x="727" y="359"/>
                </a:lnTo>
                <a:lnTo>
                  <a:pt x="721" y="360"/>
                </a:lnTo>
                <a:lnTo>
                  <a:pt x="330" y="360"/>
                </a:lnTo>
                <a:lnTo>
                  <a:pt x="325" y="359"/>
                </a:lnTo>
                <a:lnTo>
                  <a:pt x="320" y="355"/>
                </a:lnTo>
                <a:lnTo>
                  <a:pt x="317" y="350"/>
                </a:lnTo>
                <a:lnTo>
                  <a:pt x="315" y="345"/>
                </a:lnTo>
                <a:lnTo>
                  <a:pt x="317" y="339"/>
                </a:lnTo>
                <a:lnTo>
                  <a:pt x="320" y="334"/>
                </a:lnTo>
                <a:lnTo>
                  <a:pt x="325" y="331"/>
                </a:lnTo>
                <a:lnTo>
                  <a:pt x="330" y="330"/>
                </a:lnTo>
                <a:lnTo>
                  <a:pt x="330" y="330"/>
                </a:lnTo>
                <a:close/>
                <a:moveTo>
                  <a:pt x="330" y="209"/>
                </a:moveTo>
                <a:lnTo>
                  <a:pt x="721" y="209"/>
                </a:lnTo>
                <a:lnTo>
                  <a:pt x="727" y="210"/>
                </a:lnTo>
                <a:lnTo>
                  <a:pt x="732" y="214"/>
                </a:lnTo>
                <a:lnTo>
                  <a:pt x="735" y="218"/>
                </a:lnTo>
                <a:lnTo>
                  <a:pt x="736" y="224"/>
                </a:lnTo>
                <a:lnTo>
                  <a:pt x="735" y="230"/>
                </a:lnTo>
                <a:lnTo>
                  <a:pt x="732" y="235"/>
                </a:lnTo>
                <a:lnTo>
                  <a:pt x="727" y="238"/>
                </a:lnTo>
                <a:lnTo>
                  <a:pt x="721" y="239"/>
                </a:lnTo>
                <a:lnTo>
                  <a:pt x="330" y="239"/>
                </a:lnTo>
                <a:lnTo>
                  <a:pt x="325" y="238"/>
                </a:lnTo>
                <a:lnTo>
                  <a:pt x="320" y="235"/>
                </a:lnTo>
                <a:lnTo>
                  <a:pt x="317" y="230"/>
                </a:lnTo>
                <a:lnTo>
                  <a:pt x="315" y="224"/>
                </a:lnTo>
                <a:lnTo>
                  <a:pt x="317" y="218"/>
                </a:lnTo>
                <a:lnTo>
                  <a:pt x="320" y="214"/>
                </a:lnTo>
                <a:lnTo>
                  <a:pt x="325" y="210"/>
                </a:lnTo>
                <a:lnTo>
                  <a:pt x="330" y="209"/>
                </a:lnTo>
                <a:lnTo>
                  <a:pt x="330" y="209"/>
                </a:lnTo>
                <a:close/>
                <a:moveTo>
                  <a:pt x="330" y="90"/>
                </a:moveTo>
                <a:lnTo>
                  <a:pt x="721" y="90"/>
                </a:lnTo>
                <a:lnTo>
                  <a:pt x="727" y="91"/>
                </a:lnTo>
                <a:lnTo>
                  <a:pt x="732" y="93"/>
                </a:lnTo>
                <a:lnTo>
                  <a:pt x="735" y="99"/>
                </a:lnTo>
                <a:lnTo>
                  <a:pt x="736" y="105"/>
                </a:lnTo>
                <a:lnTo>
                  <a:pt x="735" y="111"/>
                </a:lnTo>
                <a:lnTo>
                  <a:pt x="732" y="115"/>
                </a:lnTo>
                <a:lnTo>
                  <a:pt x="727" y="118"/>
                </a:lnTo>
                <a:lnTo>
                  <a:pt x="721" y="120"/>
                </a:lnTo>
                <a:lnTo>
                  <a:pt x="330" y="119"/>
                </a:lnTo>
                <a:lnTo>
                  <a:pt x="325" y="118"/>
                </a:lnTo>
                <a:lnTo>
                  <a:pt x="320" y="115"/>
                </a:lnTo>
                <a:lnTo>
                  <a:pt x="317" y="111"/>
                </a:lnTo>
                <a:lnTo>
                  <a:pt x="315" y="105"/>
                </a:lnTo>
                <a:lnTo>
                  <a:pt x="317" y="99"/>
                </a:lnTo>
                <a:lnTo>
                  <a:pt x="320" y="93"/>
                </a:lnTo>
                <a:lnTo>
                  <a:pt x="325" y="91"/>
                </a:lnTo>
                <a:lnTo>
                  <a:pt x="330" y="90"/>
                </a:lnTo>
                <a:close/>
                <a:moveTo>
                  <a:pt x="0" y="495"/>
                </a:moveTo>
                <a:lnTo>
                  <a:pt x="2" y="501"/>
                </a:lnTo>
                <a:lnTo>
                  <a:pt x="5" y="506"/>
                </a:lnTo>
                <a:lnTo>
                  <a:pt x="10" y="509"/>
                </a:lnTo>
                <a:lnTo>
                  <a:pt x="15" y="510"/>
                </a:lnTo>
                <a:lnTo>
                  <a:pt x="886" y="510"/>
                </a:lnTo>
                <a:lnTo>
                  <a:pt x="892" y="509"/>
                </a:lnTo>
                <a:lnTo>
                  <a:pt x="897" y="506"/>
                </a:lnTo>
                <a:lnTo>
                  <a:pt x="900" y="501"/>
                </a:lnTo>
                <a:lnTo>
                  <a:pt x="902" y="495"/>
                </a:lnTo>
                <a:lnTo>
                  <a:pt x="902" y="0"/>
                </a:lnTo>
                <a:lnTo>
                  <a:pt x="0" y="0"/>
                </a:lnTo>
                <a:lnTo>
                  <a:pt x="0" y="4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/>
          </a:p>
        </p:txBody>
      </p:sp>
      <p:sp>
        <p:nvSpPr>
          <p:cNvPr id="28" name="Freeform 4776">
            <a:extLst>
              <a:ext uri="{FF2B5EF4-FFF2-40B4-BE49-F238E27FC236}">
                <a16:creationId xmlns="" xmlns:a16="http://schemas.microsoft.com/office/drawing/2014/main" id="{C8092ED1-DF13-4A88-9140-B942AF4CC42C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424036"/>
            <a:ext cx="396000" cy="72000"/>
          </a:xfrm>
          <a:custGeom>
            <a:avLst/>
            <a:gdLst>
              <a:gd name="T0" fmla="*/ 745 w 902"/>
              <a:gd name="T1" fmla="*/ 149 h 210"/>
              <a:gd name="T2" fmla="*/ 735 w 902"/>
              <a:gd name="T3" fmla="*/ 144 h 210"/>
              <a:gd name="T4" fmla="*/ 727 w 902"/>
              <a:gd name="T5" fmla="*/ 136 h 210"/>
              <a:gd name="T6" fmla="*/ 722 w 902"/>
              <a:gd name="T7" fmla="*/ 126 h 210"/>
              <a:gd name="T8" fmla="*/ 722 w 902"/>
              <a:gd name="T9" fmla="*/ 114 h 210"/>
              <a:gd name="T10" fmla="*/ 727 w 902"/>
              <a:gd name="T11" fmla="*/ 104 h 210"/>
              <a:gd name="T12" fmla="*/ 735 w 902"/>
              <a:gd name="T13" fmla="*/ 96 h 210"/>
              <a:gd name="T14" fmla="*/ 745 w 902"/>
              <a:gd name="T15" fmla="*/ 91 h 210"/>
              <a:gd name="T16" fmla="*/ 758 w 902"/>
              <a:gd name="T17" fmla="*/ 91 h 210"/>
              <a:gd name="T18" fmla="*/ 768 w 902"/>
              <a:gd name="T19" fmla="*/ 96 h 210"/>
              <a:gd name="T20" fmla="*/ 776 w 902"/>
              <a:gd name="T21" fmla="*/ 104 h 210"/>
              <a:gd name="T22" fmla="*/ 781 w 902"/>
              <a:gd name="T23" fmla="*/ 114 h 210"/>
              <a:gd name="T24" fmla="*/ 781 w 902"/>
              <a:gd name="T25" fmla="*/ 126 h 210"/>
              <a:gd name="T26" fmla="*/ 776 w 902"/>
              <a:gd name="T27" fmla="*/ 136 h 210"/>
              <a:gd name="T28" fmla="*/ 768 w 902"/>
              <a:gd name="T29" fmla="*/ 144 h 210"/>
              <a:gd name="T30" fmla="*/ 757 w 902"/>
              <a:gd name="T31" fmla="*/ 149 h 210"/>
              <a:gd name="T32" fmla="*/ 751 w 902"/>
              <a:gd name="T33" fmla="*/ 150 h 210"/>
              <a:gd name="T34" fmla="*/ 625 w 902"/>
              <a:gd name="T35" fmla="*/ 149 h 210"/>
              <a:gd name="T36" fmla="*/ 614 w 902"/>
              <a:gd name="T37" fmla="*/ 144 h 210"/>
              <a:gd name="T38" fmla="*/ 606 w 902"/>
              <a:gd name="T39" fmla="*/ 136 h 210"/>
              <a:gd name="T40" fmla="*/ 602 w 902"/>
              <a:gd name="T41" fmla="*/ 126 h 210"/>
              <a:gd name="T42" fmla="*/ 602 w 902"/>
              <a:gd name="T43" fmla="*/ 114 h 210"/>
              <a:gd name="T44" fmla="*/ 606 w 902"/>
              <a:gd name="T45" fmla="*/ 104 h 210"/>
              <a:gd name="T46" fmla="*/ 614 w 902"/>
              <a:gd name="T47" fmla="*/ 96 h 210"/>
              <a:gd name="T48" fmla="*/ 625 w 902"/>
              <a:gd name="T49" fmla="*/ 91 h 210"/>
              <a:gd name="T50" fmla="*/ 637 w 902"/>
              <a:gd name="T51" fmla="*/ 91 h 210"/>
              <a:gd name="T52" fmla="*/ 648 w 902"/>
              <a:gd name="T53" fmla="*/ 96 h 210"/>
              <a:gd name="T54" fmla="*/ 656 w 902"/>
              <a:gd name="T55" fmla="*/ 104 h 210"/>
              <a:gd name="T56" fmla="*/ 661 w 902"/>
              <a:gd name="T57" fmla="*/ 114 h 210"/>
              <a:gd name="T58" fmla="*/ 661 w 902"/>
              <a:gd name="T59" fmla="*/ 126 h 210"/>
              <a:gd name="T60" fmla="*/ 656 w 902"/>
              <a:gd name="T61" fmla="*/ 136 h 210"/>
              <a:gd name="T62" fmla="*/ 648 w 902"/>
              <a:gd name="T63" fmla="*/ 144 h 210"/>
              <a:gd name="T64" fmla="*/ 637 w 902"/>
              <a:gd name="T65" fmla="*/ 149 h 210"/>
              <a:gd name="T66" fmla="*/ 632 w 902"/>
              <a:gd name="T67" fmla="*/ 150 h 210"/>
              <a:gd name="T68" fmla="*/ 505 w 902"/>
              <a:gd name="T69" fmla="*/ 149 h 210"/>
              <a:gd name="T70" fmla="*/ 494 w 902"/>
              <a:gd name="T71" fmla="*/ 144 h 210"/>
              <a:gd name="T72" fmla="*/ 486 w 902"/>
              <a:gd name="T73" fmla="*/ 136 h 210"/>
              <a:gd name="T74" fmla="*/ 481 w 902"/>
              <a:gd name="T75" fmla="*/ 126 h 210"/>
              <a:gd name="T76" fmla="*/ 481 w 902"/>
              <a:gd name="T77" fmla="*/ 114 h 210"/>
              <a:gd name="T78" fmla="*/ 486 w 902"/>
              <a:gd name="T79" fmla="*/ 104 h 210"/>
              <a:gd name="T80" fmla="*/ 494 w 902"/>
              <a:gd name="T81" fmla="*/ 96 h 210"/>
              <a:gd name="T82" fmla="*/ 505 w 902"/>
              <a:gd name="T83" fmla="*/ 91 h 210"/>
              <a:gd name="T84" fmla="*/ 517 w 902"/>
              <a:gd name="T85" fmla="*/ 91 h 210"/>
              <a:gd name="T86" fmla="*/ 527 w 902"/>
              <a:gd name="T87" fmla="*/ 96 h 210"/>
              <a:gd name="T88" fmla="*/ 535 w 902"/>
              <a:gd name="T89" fmla="*/ 104 h 210"/>
              <a:gd name="T90" fmla="*/ 540 w 902"/>
              <a:gd name="T91" fmla="*/ 114 h 210"/>
              <a:gd name="T92" fmla="*/ 540 w 902"/>
              <a:gd name="T93" fmla="*/ 126 h 210"/>
              <a:gd name="T94" fmla="*/ 535 w 902"/>
              <a:gd name="T95" fmla="*/ 136 h 210"/>
              <a:gd name="T96" fmla="*/ 527 w 902"/>
              <a:gd name="T97" fmla="*/ 144 h 210"/>
              <a:gd name="T98" fmla="*/ 517 w 902"/>
              <a:gd name="T99" fmla="*/ 149 h 210"/>
              <a:gd name="T100" fmla="*/ 511 w 902"/>
              <a:gd name="T101" fmla="*/ 150 h 210"/>
              <a:gd name="T102" fmla="*/ 15 w 902"/>
              <a:gd name="T103" fmla="*/ 0 h 210"/>
              <a:gd name="T104" fmla="*/ 5 w 902"/>
              <a:gd name="T105" fmla="*/ 4 h 210"/>
              <a:gd name="T106" fmla="*/ 0 w 902"/>
              <a:gd name="T107" fmla="*/ 15 h 210"/>
              <a:gd name="T108" fmla="*/ 902 w 902"/>
              <a:gd name="T109" fmla="*/ 210 h 210"/>
              <a:gd name="T110" fmla="*/ 900 w 902"/>
              <a:gd name="T111" fmla="*/ 9 h 210"/>
              <a:gd name="T112" fmla="*/ 892 w 902"/>
              <a:gd name="T113" fmla="*/ 1 h 210"/>
              <a:gd name="T114" fmla="*/ 886 w 902"/>
              <a:gd name="T115" fmla="*/ 0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02" h="210">
                <a:moveTo>
                  <a:pt x="751" y="150"/>
                </a:moveTo>
                <a:lnTo>
                  <a:pt x="745" y="149"/>
                </a:lnTo>
                <a:lnTo>
                  <a:pt x="739" y="148"/>
                </a:lnTo>
                <a:lnTo>
                  <a:pt x="735" y="144"/>
                </a:lnTo>
                <a:lnTo>
                  <a:pt x="730" y="141"/>
                </a:lnTo>
                <a:lnTo>
                  <a:pt x="727" y="136"/>
                </a:lnTo>
                <a:lnTo>
                  <a:pt x="723" y="132"/>
                </a:lnTo>
                <a:lnTo>
                  <a:pt x="722" y="126"/>
                </a:lnTo>
                <a:lnTo>
                  <a:pt x="721" y="120"/>
                </a:lnTo>
                <a:lnTo>
                  <a:pt x="722" y="114"/>
                </a:lnTo>
                <a:lnTo>
                  <a:pt x="723" y="109"/>
                </a:lnTo>
                <a:lnTo>
                  <a:pt x="727" y="104"/>
                </a:lnTo>
                <a:lnTo>
                  <a:pt x="730" y="99"/>
                </a:lnTo>
                <a:lnTo>
                  <a:pt x="735" y="96"/>
                </a:lnTo>
                <a:lnTo>
                  <a:pt x="739" y="92"/>
                </a:lnTo>
                <a:lnTo>
                  <a:pt x="745" y="91"/>
                </a:lnTo>
                <a:lnTo>
                  <a:pt x="751" y="90"/>
                </a:lnTo>
                <a:lnTo>
                  <a:pt x="758" y="91"/>
                </a:lnTo>
                <a:lnTo>
                  <a:pt x="763" y="92"/>
                </a:lnTo>
                <a:lnTo>
                  <a:pt x="768" y="96"/>
                </a:lnTo>
                <a:lnTo>
                  <a:pt x="773" y="99"/>
                </a:lnTo>
                <a:lnTo>
                  <a:pt x="776" y="104"/>
                </a:lnTo>
                <a:lnTo>
                  <a:pt x="779" y="109"/>
                </a:lnTo>
                <a:lnTo>
                  <a:pt x="781" y="114"/>
                </a:lnTo>
                <a:lnTo>
                  <a:pt x="781" y="120"/>
                </a:lnTo>
                <a:lnTo>
                  <a:pt x="781" y="126"/>
                </a:lnTo>
                <a:lnTo>
                  <a:pt x="779" y="132"/>
                </a:lnTo>
                <a:lnTo>
                  <a:pt x="776" y="136"/>
                </a:lnTo>
                <a:lnTo>
                  <a:pt x="773" y="141"/>
                </a:lnTo>
                <a:lnTo>
                  <a:pt x="768" y="144"/>
                </a:lnTo>
                <a:lnTo>
                  <a:pt x="763" y="148"/>
                </a:lnTo>
                <a:lnTo>
                  <a:pt x="757" y="149"/>
                </a:lnTo>
                <a:lnTo>
                  <a:pt x="751" y="150"/>
                </a:lnTo>
                <a:lnTo>
                  <a:pt x="751" y="150"/>
                </a:lnTo>
                <a:close/>
                <a:moveTo>
                  <a:pt x="632" y="150"/>
                </a:moveTo>
                <a:lnTo>
                  <a:pt x="625" y="149"/>
                </a:lnTo>
                <a:lnTo>
                  <a:pt x="619" y="148"/>
                </a:lnTo>
                <a:lnTo>
                  <a:pt x="614" y="144"/>
                </a:lnTo>
                <a:lnTo>
                  <a:pt x="610" y="141"/>
                </a:lnTo>
                <a:lnTo>
                  <a:pt x="606" y="136"/>
                </a:lnTo>
                <a:lnTo>
                  <a:pt x="604" y="132"/>
                </a:lnTo>
                <a:lnTo>
                  <a:pt x="602" y="126"/>
                </a:lnTo>
                <a:lnTo>
                  <a:pt x="602" y="120"/>
                </a:lnTo>
                <a:lnTo>
                  <a:pt x="602" y="114"/>
                </a:lnTo>
                <a:lnTo>
                  <a:pt x="604" y="109"/>
                </a:lnTo>
                <a:lnTo>
                  <a:pt x="606" y="104"/>
                </a:lnTo>
                <a:lnTo>
                  <a:pt x="610" y="99"/>
                </a:lnTo>
                <a:lnTo>
                  <a:pt x="614" y="96"/>
                </a:lnTo>
                <a:lnTo>
                  <a:pt x="619" y="92"/>
                </a:lnTo>
                <a:lnTo>
                  <a:pt x="625" y="91"/>
                </a:lnTo>
                <a:lnTo>
                  <a:pt x="632" y="90"/>
                </a:lnTo>
                <a:lnTo>
                  <a:pt x="637" y="91"/>
                </a:lnTo>
                <a:lnTo>
                  <a:pt x="643" y="92"/>
                </a:lnTo>
                <a:lnTo>
                  <a:pt x="648" y="96"/>
                </a:lnTo>
                <a:lnTo>
                  <a:pt x="652" y="99"/>
                </a:lnTo>
                <a:lnTo>
                  <a:pt x="656" y="104"/>
                </a:lnTo>
                <a:lnTo>
                  <a:pt x="658" y="109"/>
                </a:lnTo>
                <a:lnTo>
                  <a:pt x="661" y="114"/>
                </a:lnTo>
                <a:lnTo>
                  <a:pt x="661" y="120"/>
                </a:lnTo>
                <a:lnTo>
                  <a:pt x="661" y="126"/>
                </a:lnTo>
                <a:lnTo>
                  <a:pt x="658" y="132"/>
                </a:lnTo>
                <a:lnTo>
                  <a:pt x="656" y="136"/>
                </a:lnTo>
                <a:lnTo>
                  <a:pt x="652" y="141"/>
                </a:lnTo>
                <a:lnTo>
                  <a:pt x="648" y="144"/>
                </a:lnTo>
                <a:lnTo>
                  <a:pt x="643" y="148"/>
                </a:lnTo>
                <a:lnTo>
                  <a:pt x="637" y="149"/>
                </a:lnTo>
                <a:lnTo>
                  <a:pt x="632" y="150"/>
                </a:lnTo>
                <a:lnTo>
                  <a:pt x="632" y="150"/>
                </a:lnTo>
                <a:close/>
                <a:moveTo>
                  <a:pt x="511" y="150"/>
                </a:moveTo>
                <a:lnTo>
                  <a:pt x="505" y="149"/>
                </a:lnTo>
                <a:lnTo>
                  <a:pt x="500" y="148"/>
                </a:lnTo>
                <a:lnTo>
                  <a:pt x="494" y="144"/>
                </a:lnTo>
                <a:lnTo>
                  <a:pt x="489" y="141"/>
                </a:lnTo>
                <a:lnTo>
                  <a:pt x="486" y="136"/>
                </a:lnTo>
                <a:lnTo>
                  <a:pt x="483" y="132"/>
                </a:lnTo>
                <a:lnTo>
                  <a:pt x="481" y="126"/>
                </a:lnTo>
                <a:lnTo>
                  <a:pt x="481" y="120"/>
                </a:lnTo>
                <a:lnTo>
                  <a:pt x="481" y="114"/>
                </a:lnTo>
                <a:lnTo>
                  <a:pt x="483" y="109"/>
                </a:lnTo>
                <a:lnTo>
                  <a:pt x="486" y="104"/>
                </a:lnTo>
                <a:lnTo>
                  <a:pt x="489" y="99"/>
                </a:lnTo>
                <a:lnTo>
                  <a:pt x="494" y="96"/>
                </a:lnTo>
                <a:lnTo>
                  <a:pt x="500" y="92"/>
                </a:lnTo>
                <a:lnTo>
                  <a:pt x="505" y="91"/>
                </a:lnTo>
                <a:lnTo>
                  <a:pt x="511" y="90"/>
                </a:lnTo>
                <a:lnTo>
                  <a:pt x="517" y="91"/>
                </a:lnTo>
                <a:lnTo>
                  <a:pt x="523" y="92"/>
                </a:lnTo>
                <a:lnTo>
                  <a:pt x="527" y="96"/>
                </a:lnTo>
                <a:lnTo>
                  <a:pt x="532" y="99"/>
                </a:lnTo>
                <a:lnTo>
                  <a:pt x="535" y="104"/>
                </a:lnTo>
                <a:lnTo>
                  <a:pt x="539" y="109"/>
                </a:lnTo>
                <a:lnTo>
                  <a:pt x="540" y="114"/>
                </a:lnTo>
                <a:lnTo>
                  <a:pt x="541" y="120"/>
                </a:lnTo>
                <a:lnTo>
                  <a:pt x="540" y="126"/>
                </a:lnTo>
                <a:lnTo>
                  <a:pt x="539" y="132"/>
                </a:lnTo>
                <a:lnTo>
                  <a:pt x="535" y="136"/>
                </a:lnTo>
                <a:lnTo>
                  <a:pt x="532" y="141"/>
                </a:lnTo>
                <a:lnTo>
                  <a:pt x="527" y="144"/>
                </a:lnTo>
                <a:lnTo>
                  <a:pt x="523" y="148"/>
                </a:lnTo>
                <a:lnTo>
                  <a:pt x="517" y="149"/>
                </a:lnTo>
                <a:lnTo>
                  <a:pt x="511" y="150"/>
                </a:lnTo>
                <a:lnTo>
                  <a:pt x="511" y="150"/>
                </a:lnTo>
                <a:close/>
                <a:moveTo>
                  <a:pt x="886" y="0"/>
                </a:moveTo>
                <a:lnTo>
                  <a:pt x="15" y="0"/>
                </a:lnTo>
                <a:lnTo>
                  <a:pt x="10" y="1"/>
                </a:lnTo>
                <a:lnTo>
                  <a:pt x="5" y="4"/>
                </a:lnTo>
                <a:lnTo>
                  <a:pt x="2" y="9"/>
                </a:lnTo>
                <a:lnTo>
                  <a:pt x="0" y="15"/>
                </a:lnTo>
                <a:lnTo>
                  <a:pt x="0" y="210"/>
                </a:lnTo>
                <a:lnTo>
                  <a:pt x="902" y="210"/>
                </a:lnTo>
                <a:lnTo>
                  <a:pt x="902" y="15"/>
                </a:lnTo>
                <a:lnTo>
                  <a:pt x="900" y="9"/>
                </a:lnTo>
                <a:lnTo>
                  <a:pt x="897" y="4"/>
                </a:lnTo>
                <a:lnTo>
                  <a:pt x="892" y="1"/>
                </a:lnTo>
                <a:lnTo>
                  <a:pt x="886" y="0"/>
                </a:lnTo>
                <a:lnTo>
                  <a:pt x="88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文字方塊 24"/>
          <p:cNvSpPr txBox="1"/>
          <p:nvPr/>
        </p:nvSpPr>
        <p:spPr>
          <a:xfrm>
            <a:off x="288183" y="1407416"/>
            <a:ext cx="4283817" cy="537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</a:t>
            </a:r>
            <a:r>
              <a:rPr lang="zh-TW" altLang="en-US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如何線上閱讀</a:t>
            </a:r>
            <a:r>
              <a:rPr lang="en-US" altLang="zh-TW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?</a:t>
            </a:r>
            <a:endParaRPr lang="en-US" altLang="zh-TW" sz="2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36" name="Picture 2" descr="https://uc12b47cdf4d689f459fa4450555.previews.dropboxusercontent.com/p/thumb/AAhB3Pa8LRJhF2Mb_gx0S6giBrPCeYBqAqHk6o0oc7KhPZb-uSk6ZCKb9RVS05FTherG5wHJKYJn7ysLm-6l5S85iMkH22ZIpzBYqDKm3avEjComXsfGej0j_nrWEFeZf5glCK9tFjjy5vZL-6dRxFQchRDcM6ScC39ZBA-79WfAStlCraYVpgj_XDoxdTlfX8qPMa7kKZMGBtEKWsv80fQHvOcBvqZxtCnCtHSuU1MIfLcbTkTafm78QoiNzWipdo52AgQBaXLXyFeFOPRf5tGAhFhXzwZbOdiBw-zLqVrwzArtYqRxWjrPTTJyjtC13azhSUVZKZkMG65shUgxJh5SKPUgYwm8YDRWumUw1p5vQQ/p.png?fv_content=true&amp;size_mode=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010" y="2286000"/>
            <a:ext cx="7680000" cy="432000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矩形 36"/>
          <p:cNvSpPr/>
          <p:nvPr/>
        </p:nvSpPr>
        <p:spPr>
          <a:xfrm>
            <a:off x="904610" y="2286001"/>
            <a:ext cx="381000" cy="381000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346364" y="2775223"/>
            <a:ext cx="771690" cy="447764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4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返回</a:t>
            </a:r>
            <a:endParaRPr lang="zh-TW" alt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7610210" y="3016424"/>
            <a:ext cx="457200" cy="1707976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1373968" y="5491118"/>
            <a:ext cx="1553901" cy="447764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4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返回跳頁前一頁</a:t>
            </a:r>
            <a:endParaRPr lang="zh-TW" alt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6366164" y="2286000"/>
            <a:ext cx="1828800" cy="381001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solidFill>
                <a:prstClr val="white"/>
              </a:solidFill>
            </a:endParaRPr>
          </a:p>
        </p:txBody>
      </p:sp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5164" y="6324600"/>
            <a:ext cx="762000" cy="311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" name="矩形 42"/>
          <p:cNvSpPr/>
          <p:nvPr/>
        </p:nvSpPr>
        <p:spPr>
          <a:xfrm>
            <a:off x="5778258" y="5520806"/>
            <a:ext cx="1143000" cy="447764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400" b="1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當前頁數</a:t>
            </a:r>
            <a:endParaRPr lang="zh-TW" alt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1919550" y="6324600"/>
            <a:ext cx="462735" cy="281400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8173610" y="3048000"/>
            <a:ext cx="806115" cy="34141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TW" altLang="en-US" sz="14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書籤</a:t>
            </a:r>
            <a:endParaRPr lang="zh-TW" alt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8173610" y="3496928"/>
            <a:ext cx="806115" cy="34141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TW" altLang="en-US" sz="14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音檔</a:t>
            </a:r>
            <a:endParaRPr lang="zh-TW" alt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8185485" y="3951812"/>
            <a:ext cx="806115" cy="34141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TW" altLang="en-US" sz="14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放大</a:t>
            </a:r>
            <a:endParaRPr lang="zh-TW" alt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8185485" y="4387737"/>
            <a:ext cx="806115" cy="34141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zh-TW" altLang="en-US" sz="14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縮小</a:t>
            </a:r>
            <a:endParaRPr lang="zh-TW" alt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6210874" y="1219198"/>
            <a:ext cx="380999" cy="99060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TW" altLang="en-US" sz="14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文內搜尋</a:t>
            </a:r>
            <a:endParaRPr lang="zh-TW" alt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6699742" y="1219198"/>
            <a:ext cx="380999" cy="99060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TW" altLang="en-US" sz="14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進階搜尋</a:t>
            </a:r>
            <a:endParaRPr lang="zh-TW" alt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7196525" y="1219198"/>
            <a:ext cx="380999" cy="99060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TW" altLang="en-US" sz="14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畫線筆記</a:t>
            </a:r>
            <a:endParaRPr lang="zh-TW" alt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7677967" y="1219198"/>
            <a:ext cx="380999" cy="99060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TW" altLang="en-US" sz="14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目錄</a:t>
            </a:r>
            <a:endParaRPr lang="zh-TW" alt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8153401" y="1217712"/>
            <a:ext cx="380999" cy="99060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/>
            <a:r>
              <a:rPr lang="zh-TW" altLang="en-US" sz="14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設定</a:t>
            </a:r>
            <a:endParaRPr lang="zh-TW" alt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2895599" y="1295401"/>
            <a:ext cx="3089565" cy="91439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TW" altLang="en-US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點擊詳目頁線上看，開啟</a:t>
            </a:r>
            <a:r>
              <a:rPr lang="en-US" altLang="zh-TW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Viewer</a:t>
            </a:r>
            <a:r>
              <a:rPr lang="zh-TW" altLang="en-US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即可線上閱讀</a:t>
            </a:r>
            <a:endParaRPr lang="zh-TW" altLang="en-US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40037685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標題 2"/>
          <p:cNvSpPr>
            <a:spLocks noGrp="1"/>
          </p:cNvSpPr>
          <p:nvPr>
            <p:ph type="ctrTitle"/>
          </p:nvPr>
        </p:nvSpPr>
        <p:spPr>
          <a:xfrm>
            <a:off x="2388293" y="192006"/>
            <a:ext cx="5029200" cy="914400"/>
          </a:xfrm>
        </p:spPr>
        <p:txBody>
          <a:bodyPr>
            <a:normAutofit/>
          </a:bodyPr>
          <a:lstStyle/>
          <a:p>
            <a:pPr algn="l"/>
            <a:r>
              <a:rPr lang="zh-TW" altLang="en-US" sz="36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功能說明</a:t>
            </a:r>
            <a:endParaRPr lang="zh-TW" altLang="en-US" sz="32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/>
          </a:p>
        </p:txBody>
      </p:sp>
      <p:sp>
        <p:nvSpPr>
          <p:cNvPr id="27" name="Freeform 4777">
            <a:extLst>
              <a:ext uri="{FF2B5EF4-FFF2-40B4-BE49-F238E27FC236}">
                <a16:creationId xmlns="" xmlns:a16="http://schemas.microsoft.com/office/drawing/2014/main" id="{8C2F6FD5-B324-40F5-B07F-DCC3F9F9DA63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536856"/>
            <a:ext cx="396000" cy="288000"/>
          </a:xfrm>
          <a:custGeom>
            <a:avLst/>
            <a:gdLst>
              <a:gd name="T0" fmla="*/ 216 w 902"/>
              <a:gd name="T1" fmla="*/ 331 h 510"/>
              <a:gd name="T2" fmla="*/ 225 w 902"/>
              <a:gd name="T3" fmla="*/ 345 h 510"/>
              <a:gd name="T4" fmla="*/ 216 w 902"/>
              <a:gd name="T5" fmla="*/ 359 h 510"/>
              <a:gd name="T6" fmla="*/ 145 w 902"/>
              <a:gd name="T7" fmla="*/ 359 h 510"/>
              <a:gd name="T8" fmla="*/ 136 w 902"/>
              <a:gd name="T9" fmla="*/ 345 h 510"/>
              <a:gd name="T10" fmla="*/ 145 w 902"/>
              <a:gd name="T11" fmla="*/ 331 h 510"/>
              <a:gd name="T12" fmla="*/ 151 w 902"/>
              <a:gd name="T13" fmla="*/ 209 h 510"/>
              <a:gd name="T14" fmla="*/ 222 w 902"/>
              <a:gd name="T15" fmla="*/ 214 h 510"/>
              <a:gd name="T16" fmla="*/ 224 w 902"/>
              <a:gd name="T17" fmla="*/ 230 h 510"/>
              <a:gd name="T18" fmla="*/ 210 w 902"/>
              <a:gd name="T19" fmla="*/ 239 h 510"/>
              <a:gd name="T20" fmla="*/ 139 w 902"/>
              <a:gd name="T21" fmla="*/ 235 h 510"/>
              <a:gd name="T22" fmla="*/ 137 w 902"/>
              <a:gd name="T23" fmla="*/ 218 h 510"/>
              <a:gd name="T24" fmla="*/ 151 w 902"/>
              <a:gd name="T25" fmla="*/ 209 h 510"/>
              <a:gd name="T26" fmla="*/ 210 w 902"/>
              <a:gd name="T27" fmla="*/ 90 h 510"/>
              <a:gd name="T28" fmla="*/ 224 w 902"/>
              <a:gd name="T29" fmla="*/ 99 h 510"/>
              <a:gd name="T30" fmla="*/ 222 w 902"/>
              <a:gd name="T31" fmla="*/ 115 h 510"/>
              <a:gd name="T32" fmla="*/ 151 w 902"/>
              <a:gd name="T33" fmla="*/ 119 h 510"/>
              <a:gd name="T34" fmla="*/ 137 w 902"/>
              <a:gd name="T35" fmla="*/ 111 h 510"/>
              <a:gd name="T36" fmla="*/ 139 w 902"/>
              <a:gd name="T37" fmla="*/ 93 h 510"/>
              <a:gd name="T38" fmla="*/ 330 w 902"/>
              <a:gd name="T39" fmla="*/ 330 h 510"/>
              <a:gd name="T40" fmla="*/ 732 w 902"/>
              <a:gd name="T41" fmla="*/ 334 h 510"/>
              <a:gd name="T42" fmla="*/ 735 w 902"/>
              <a:gd name="T43" fmla="*/ 350 h 510"/>
              <a:gd name="T44" fmla="*/ 721 w 902"/>
              <a:gd name="T45" fmla="*/ 360 h 510"/>
              <a:gd name="T46" fmla="*/ 320 w 902"/>
              <a:gd name="T47" fmla="*/ 355 h 510"/>
              <a:gd name="T48" fmla="*/ 317 w 902"/>
              <a:gd name="T49" fmla="*/ 339 h 510"/>
              <a:gd name="T50" fmla="*/ 330 w 902"/>
              <a:gd name="T51" fmla="*/ 330 h 510"/>
              <a:gd name="T52" fmla="*/ 721 w 902"/>
              <a:gd name="T53" fmla="*/ 209 h 510"/>
              <a:gd name="T54" fmla="*/ 735 w 902"/>
              <a:gd name="T55" fmla="*/ 218 h 510"/>
              <a:gd name="T56" fmla="*/ 732 w 902"/>
              <a:gd name="T57" fmla="*/ 235 h 510"/>
              <a:gd name="T58" fmla="*/ 330 w 902"/>
              <a:gd name="T59" fmla="*/ 239 h 510"/>
              <a:gd name="T60" fmla="*/ 317 w 902"/>
              <a:gd name="T61" fmla="*/ 230 h 510"/>
              <a:gd name="T62" fmla="*/ 320 w 902"/>
              <a:gd name="T63" fmla="*/ 214 h 510"/>
              <a:gd name="T64" fmla="*/ 330 w 902"/>
              <a:gd name="T65" fmla="*/ 209 h 510"/>
              <a:gd name="T66" fmla="*/ 727 w 902"/>
              <a:gd name="T67" fmla="*/ 91 h 510"/>
              <a:gd name="T68" fmla="*/ 736 w 902"/>
              <a:gd name="T69" fmla="*/ 105 h 510"/>
              <a:gd name="T70" fmla="*/ 727 w 902"/>
              <a:gd name="T71" fmla="*/ 118 h 510"/>
              <a:gd name="T72" fmla="*/ 325 w 902"/>
              <a:gd name="T73" fmla="*/ 118 h 510"/>
              <a:gd name="T74" fmla="*/ 315 w 902"/>
              <a:gd name="T75" fmla="*/ 105 h 510"/>
              <a:gd name="T76" fmla="*/ 325 w 902"/>
              <a:gd name="T77" fmla="*/ 91 h 510"/>
              <a:gd name="T78" fmla="*/ 2 w 902"/>
              <a:gd name="T79" fmla="*/ 501 h 510"/>
              <a:gd name="T80" fmla="*/ 15 w 902"/>
              <a:gd name="T81" fmla="*/ 510 h 510"/>
              <a:gd name="T82" fmla="*/ 897 w 902"/>
              <a:gd name="T83" fmla="*/ 506 h 510"/>
              <a:gd name="T84" fmla="*/ 902 w 902"/>
              <a:gd name="T85" fmla="*/ 0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02" h="510">
                <a:moveTo>
                  <a:pt x="151" y="330"/>
                </a:moveTo>
                <a:lnTo>
                  <a:pt x="210" y="330"/>
                </a:lnTo>
                <a:lnTo>
                  <a:pt x="216" y="331"/>
                </a:lnTo>
                <a:lnTo>
                  <a:pt x="222" y="334"/>
                </a:lnTo>
                <a:lnTo>
                  <a:pt x="224" y="339"/>
                </a:lnTo>
                <a:lnTo>
                  <a:pt x="225" y="345"/>
                </a:lnTo>
                <a:lnTo>
                  <a:pt x="224" y="350"/>
                </a:lnTo>
                <a:lnTo>
                  <a:pt x="222" y="355"/>
                </a:lnTo>
                <a:lnTo>
                  <a:pt x="216" y="359"/>
                </a:lnTo>
                <a:lnTo>
                  <a:pt x="210" y="360"/>
                </a:lnTo>
                <a:lnTo>
                  <a:pt x="151" y="360"/>
                </a:lnTo>
                <a:lnTo>
                  <a:pt x="145" y="359"/>
                </a:lnTo>
                <a:lnTo>
                  <a:pt x="139" y="355"/>
                </a:lnTo>
                <a:lnTo>
                  <a:pt x="137" y="350"/>
                </a:lnTo>
                <a:lnTo>
                  <a:pt x="136" y="345"/>
                </a:lnTo>
                <a:lnTo>
                  <a:pt x="137" y="339"/>
                </a:lnTo>
                <a:lnTo>
                  <a:pt x="139" y="334"/>
                </a:lnTo>
                <a:lnTo>
                  <a:pt x="145" y="331"/>
                </a:lnTo>
                <a:lnTo>
                  <a:pt x="151" y="330"/>
                </a:lnTo>
                <a:lnTo>
                  <a:pt x="151" y="330"/>
                </a:lnTo>
                <a:close/>
                <a:moveTo>
                  <a:pt x="151" y="209"/>
                </a:moveTo>
                <a:lnTo>
                  <a:pt x="210" y="209"/>
                </a:lnTo>
                <a:lnTo>
                  <a:pt x="216" y="210"/>
                </a:lnTo>
                <a:lnTo>
                  <a:pt x="222" y="214"/>
                </a:lnTo>
                <a:lnTo>
                  <a:pt x="224" y="218"/>
                </a:lnTo>
                <a:lnTo>
                  <a:pt x="225" y="224"/>
                </a:lnTo>
                <a:lnTo>
                  <a:pt x="224" y="230"/>
                </a:lnTo>
                <a:lnTo>
                  <a:pt x="222" y="235"/>
                </a:lnTo>
                <a:lnTo>
                  <a:pt x="216" y="238"/>
                </a:lnTo>
                <a:lnTo>
                  <a:pt x="210" y="239"/>
                </a:lnTo>
                <a:lnTo>
                  <a:pt x="151" y="239"/>
                </a:lnTo>
                <a:lnTo>
                  <a:pt x="145" y="238"/>
                </a:lnTo>
                <a:lnTo>
                  <a:pt x="139" y="235"/>
                </a:lnTo>
                <a:lnTo>
                  <a:pt x="137" y="230"/>
                </a:lnTo>
                <a:lnTo>
                  <a:pt x="136" y="224"/>
                </a:lnTo>
                <a:lnTo>
                  <a:pt x="137" y="218"/>
                </a:lnTo>
                <a:lnTo>
                  <a:pt x="139" y="214"/>
                </a:lnTo>
                <a:lnTo>
                  <a:pt x="145" y="210"/>
                </a:lnTo>
                <a:lnTo>
                  <a:pt x="151" y="209"/>
                </a:lnTo>
                <a:lnTo>
                  <a:pt x="151" y="209"/>
                </a:lnTo>
                <a:close/>
                <a:moveTo>
                  <a:pt x="151" y="90"/>
                </a:moveTo>
                <a:lnTo>
                  <a:pt x="210" y="90"/>
                </a:lnTo>
                <a:lnTo>
                  <a:pt x="216" y="91"/>
                </a:lnTo>
                <a:lnTo>
                  <a:pt x="222" y="93"/>
                </a:lnTo>
                <a:lnTo>
                  <a:pt x="224" y="99"/>
                </a:lnTo>
                <a:lnTo>
                  <a:pt x="225" y="105"/>
                </a:lnTo>
                <a:lnTo>
                  <a:pt x="224" y="111"/>
                </a:lnTo>
                <a:lnTo>
                  <a:pt x="222" y="115"/>
                </a:lnTo>
                <a:lnTo>
                  <a:pt x="216" y="118"/>
                </a:lnTo>
                <a:lnTo>
                  <a:pt x="210" y="120"/>
                </a:lnTo>
                <a:lnTo>
                  <a:pt x="151" y="119"/>
                </a:lnTo>
                <a:lnTo>
                  <a:pt x="145" y="118"/>
                </a:lnTo>
                <a:lnTo>
                  <a:pt x="139" y="115"/>
                </a:lnTo>
                <a:lnTo>
                  <a:pt x="137" y="111"/>
                </a:lnTo>
                <a:lnTo>
                  <a:pt x="136" y="105"/>
                </a:lnTo>
                <a:lnTo>
                  <a:pt x="137" y="99"/>
                </a:lnTo>
                <a:lnTo>
                  <a:pt x="139" y="93"/>
                </a:lnTo>
                <a:lnTo>
                  <a:pt x="145" y="91"/>
                </a:lnTo>
                <a:lnTo>
                  <a:pt x="151" y="90"/>
                </a:lnTo>
                <a:close/>
                <a:moveTo>
                  <a:pt x="330" y="330"/>
                </a:moveTo>
                <a:lnTo>
                  <a:pt x="721" y="330"/>
                </a:lnTo>
                <a:lnTo>
                  <a:pt x="727" y="331"/>
                </a:lnTo>
                <a:lnTo>
                  <a:pt x="732" y="334"/>
                </a:lnTo>
                <a:lnTo>
                  <a:pt x="735" y="339"/>
                </a:lnTo>
                <a:lnTo>
                  <a:pt x="736" y="345"/>
                </a:lnTo>
                <a:lnTo>
                  <a:pt x="735" y="350"/>
                </a:lnTo>
                <a:lnTo>
                  <a:pt x="732" y="355"/>
                </a:lnTo>
                <a:lnTo>
                  <a:pt x="727" y="359"/>
                </a:lnTo>
                <a:lnTo>
                  <a:pt x="721" y="360"/>
                </a:lnTo>
                <a:lnTo>
                  <a:pt x="330" y="360"/>
                </a:lnTo>
                <a:lnTo>
                  <a:pt x="325" y="359"/>
                </a:lnTo>
                <a:lnTo>
                  <a:pt x="320" y="355"/>
                </a:lnTo>
                <a:lnTo>
                  <a:pt x="317" y="350"/>
                </a:lnTo>
                <a:lnTo>
                  <a:pt x="315" y="345"/>
                </a:lnTo>
                <a:lnTo>
                  <a:pt x="317" y="339"/>
                </a:lnTo>
                <a:lnTo>
                  <a:pt x="320" y="334"/>
                </a:lnTo>
                <a:lnTo>
                  <a:pt x="325" y="331"/>
                </a:lnTo>
                <a:lnTo>
                  <a:pt x="330" y="330"/>
                </a:lnTo>
                <a:lnTo>
                  <a:pt x="330" y="330"/>
                </a:lnTo>
                <a:close/>
                <a:moveTo>
                  <a:pt x="330" y="209"/>
                </a:moveTo>
                <a:lnTo>
                  <a:pt x="721" y="209"/>
                </a:lnTo>
                <a:lnTo>
                  <a:pt x="727" y="210"/>
                </a:lnTo>
                <a:lnTo>
                  <a:pt x="732" y="214"/>
                </a:lnTo>
                <a:lnTo>
                  <a:pt x="735" y="218"/>
                </a:lnTo>
                <a:lnTo>
                  <a:pt x="736" y="224"/>
                </a:lnTo>
                <a:lnTo>
                  <a:pt x="735" y="230"/>
                </a:lnTo>
                <a:lnTo>
                  <a:pt x="732" y="235"/>
                </a:lnTo>
                <a:lnTo>
                  <a:pt x="727" y="238"/>
                </a:lnTo>
                <a:lnTo>
                  <a:pt x="721" y="239"/>
                </a:lnTo>
                <a:lnTo>
                  <a:pt x="330" y="239"/>
                </a:lnTo>
                <a:lnTo>
                  <a:pt x="325" y="238"/>
                </a:lnTo>
                <a:lnTo>
                  <a:pt x="320" y="235"/>
                </a:lnTo>
                <a:lnTo>
                  <a:pt x="317" y="230"/>
                </a:lnTo>
                <a:lnTo>
                  <a:pt x="315" y="224"/>
                </a:lnTo>
                <a:lnTo>
                  <a:pt x="317" y="218"/>
                </a:lnTo>
                <a:lnTo>
                  <a:pt x="320" y="214"/>
                </a:lnTo>
                <a:lnTo>
                  <a:pt x="325" y="210"/>
                </a:lnTo>
                <a:lnTo>
                  <a:pt x="330" y="209"/>
                </a:lnTo>
                <a:lnTo>
                  <a:pt x="330" y="209"/>
                </a:lnTo>
                <a:close/>
                <a:moveTo>
                  <a:pt x="330" y="90"/>
                </a:moveTo>
                <a:lnTo>
                  <a:pt x="721" y="90"/>
                </a:lnTo>
                <a:lnTo>
                  <a:pt x="727" y="91"/>
                </a:lnTo>
                <a:lnTo>
                  <a:pt x="732" y="93"/>
                </a:lnTo>
                <a:lnTo>
                  <a:pt x="735" y="99"/>
                </a:lnTo>
                <a:lnTo>
                  <a:pt x="736" y="105"/>
                </a:lnTo>
                <a:lnTo>
                  <a:pt x="735" y="111"/>
                </a:lnTo>
                <a:lnTo>
                  <a:pt x="732" y="115"/>
                </a:lnTo>
                <a:lnTo>
                  <a:pt x="727" y="118"/>
                </a:lnTo>
                <a:lnTo>
                  <a:pt x="721" y="120"/>
                </a:lnTo>
                <a:lnTo>
                  <a:pt x="330" y="119"/>
                </a:lnTo>
                <a:lnTo>
                  <a:pt x="325" y="118"/>
                </a:lnTo>
                <a:lnTo>
                  <a:pt x="320" y="115"/>
                </a:lnTo>
                <a:lnTo>
                  <a:pt x="317" y="111"/>
                </a:lnTo>
                <a:lnTo>
                  <a:pt x="315" y="105"/>
                </a:lnTo>
                <a:lnTo>
                  <a:pt x="317" y="99"/>
                </a:lnTo>
                <a:lnTo>
                  <a:pt x="320" y="93"/>
                </a:lnTo>
                <a:lnTo>
                  <a:pt x="325" y="91"/>
                </a:lnTo>
                <a:lnTo>
                  <a:pt x="330" y="90"/>
                </a:lnTo>
                <a:close/>
                <a:moveTo>
                  <a:pt x="0" y="495"/>
                </a:moveTo>
                <a:lnTo>
                  <a:pt x="2" y="501"/>
                </a:lnTo>
                <a:lnTo>
                  <a:pt x="5" y="506"/>
                </a:lnTo>
                <a:lnTo>
                  <a:pt x="10" y="509"/>
                </a:lnTo>
                <a:lnTo>
                  <a:pt x="15" y="510"/>
                </a:lnTo>
                <a:lnTo>
                  <a:pt x="886" y="510"/>
                </a:lnTo>
                <a:lnTo>
                  <a:pt x="892" y="509"/>
                </a:lnTo>
                <a:lnTo>
                  <a:pt x="897" y="506"/>
                </a:lnTo>
                <a:lnTo>
                  <a:pt x="900" y="501"/>
                </a:lnTo>
                <a:lnTo>
                  <a:pt x="902" y="495"/>
                </a:lnTo>
                <a:lnTo>
                  <a:pt x="902" y="0"/>
                </a:lnTo>
                <a:lnTo>
                  <a:pt x="0" y="0"/>
                </a:lnTo>
                <a:lnTo>
                  <a:pt x="0" y="4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/>
          </a:p>
        </p:txBody>
      </p:sp>
      <p:sp>
        <p:nvSpPr>
          <p:cNvPr id="28" name="Freeform 4776">
            <a:extLst>
              <a:ext uri="{FF2B5EF4-FFF2-40B4-BE49-F238E27FC236}">
                <a16:creationId xmlns="" xmlns:a16="http://schemas.microsoft.com/office/drawing/2014/main" id="{C8092ED1-DF13-4A88-9140-B942AF4CC42C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424036"/>
            <a:ext cx="396000" cy="72000"/>
          </a:xfrm>
          <a:custGeom>
            <a:avLst/>
            <a:gdLst>
              <a:gd name="T0" fmla="*/ 745 w 902"/>
              <a:gd name="T1" fmla="*/ 149 h 210"/>
              <a:gd name="T2" fmla="*/ 735 w 902"/>
              <a:gd name="T3" fmla="*/ 144 h 210"/>
              <a:gd name="T4" fmla="*/ 727 w 902"/>
              <a:gd name="T5" fmla="*/ 136 h 210"/>
              <a:gd name="T6" fmla="*/ 722 w 902"/>
              <a:gd name="T7" fmla="*/ 126 h 210"/>
              <a:gd name="T8" fmla="*/ 722 w 902"/>
              <a:gd name="T9" fmla="*/ 114 h 210"/>
              <a:gd name="T10" fmla="*/ 727 w 902"/>
              <a:gd name="T11" fmla="*/ 104 h 210"/>
              <a:gd name="T12" fmla="*/ 735 w 902"/>
              <a:gd name="T13" fmla="*/ 96 h 210"/>
              <a:gd name="T14" fmla="*/ 745 w 902"/>
              <a:gd name="T15" fmla="*/ 91 h 210"/>
              <a:gd name="T16" fmla="*/ 758 w 902"/>
              <a:gd name="T17" fmla="*/ 91 h 210"/>
              <a:gd name="T18" fmla="*/ 768 w 902"/>
              <a:gd name="T19" fmla="*/ 96 h 210"/>
              <a:gd name="T20" fmla="*/ 776 w 902"/>
              <a:gd name="T21" fmla="*/ 104 h 210"/>
              <a:gd name="T22" fmla="*/ 781 w 902"/>
              <a:gd name="T23" fmla="*/ 114 h 210"/>
              <a:gd name="T24" fmla="*/ 781 w 902"/>
              <a:gd name="T25" fmla="*/ 126 h 210"/>
              <a:gd name="T26" fmla="*/ 776 w 902"/>
              <a:gd name="T27" fmla="*/ 136 h 210"/>
              <a:gd name="T28" fmla="*/ 768 w 902"/>
              <a:gd name="T29" fmla="*/ 144 h 210"/>
              <a:gd name="T30" fmla="*/ 757 w 902"/>
              <a:gd name="T31" fmla="*/ 149 h 210"/>
              <a:gd name="T32" fmla="*/ 751 w 902"/>
              <a:gd name="T33" fmla="*/ 150 h 210"/>
              <a:gd name="T34" fmla="*/ 625 w 902"/>
              <a:gd name="T35" fmla="*/ 149 h 210"/>
              <a:gd name="T36" fmla="*/ 614 w 902"/>
              <a:gd name="T37" fmla="*/ 144 h 210"/>
              <a:gd name="T38" fmla="*/ 606 w 902"/>
              <a:gd name="T39" fmla="*/ 136 h 210"/>
              <a:gd name="T40" fmla="*/ 602 w 902"/>
              <a:gd name="T41" fmla="*/ 126 h 210"/>
              <a:gd name="T42" fmla="*/ 602 w 902"/>
              <a:gd name="T43" fmla="*/ 114 h 210"/>
              <a:gd name="T44" fmla="*/ 606 w 902"/>
              <a:gd name="T45" fmla="*/ 104 h 210"/>
              <a:gd name="T46" fmla="*/ 614 w 902"/>
              <a:gd name="T47" fmla="*/ 96 h 210"/>
              <a:gd name="T48" fmla="*/ 625 w 902"/>
              <a:gd name="T49" fmla="*/ 91 h 210"/>
              <a:gd name="T50" fmla="*/ 637 w 902"/>
              <a:gd name="T51" fmla="*/ 91 h 210"/>
              <a:gd name="T52" fmla="*/ 648 w 902"/>
              <a:gd name="T53" fmla="*/ 96 h 210"/>
              <a:gd name="T54" fmla="*/ 656 w 902"/>
              <a:gd name="T55" fmla="*/ 104 h 210"/>
              <a:gd name="T56" fmla="*/ 661 w 902"/>
              <a:gd name="T57" fmla="*/ 114 h 210"/>
              <a:gd name="T58" fmla="*/ 661 w 902"/>
              <a:gd name="T59" fmla="*/ 126 h 210"/>
              <a:gd name="T60" fmla="*/ 656 w 902"/>
              <a:gd name="T61" fmla="*/ 136 h 210"/>
              <a:gd name="T62" fmla="*/ 648 w 902"/>
              <a:gd name="T63" fmla="*/ 144 h 210"/>
              <a:gd name="T64" fmla="*/ 637 w 902"/>
              <a:gd name="T65" fmla="*/ 149 h 210"/>
              <a:gd name="T66" fmla="*/ 632 w 902"/>
              <a:gd name="T67" fmla="*/ 150 h 210"/>
              <a:gd name="T68" fmla="*/ 505 w 902"/>
              <a:gd name="T69" fmla="*/ 149 h 210"/>
              <a:gd name="T70" fmla="*/ 494 w 902"/>
              <a:gd name="T71" fmla="*/ 144 h 210"/>
              <a:gd name="T72" fmla="*/ 486 w 902"/>
              <a:gd name="T73" fmla="*/ 136 h 210"/>
              <a:gd name="T74" fmla="*/ 481 w 902"/>
              <a:gd name="T75" fmla="*/ 126 h 210"/>
              <a:gd name="T76" fmla="*/ 481 w 902"/>
              <a:gd name="T77" fmla="*/ 114 h 210"/>
              <a:gd name="T78" fmla="*/ 486 w 902"/>
              <a:gd name="T79" fmla="*/ 104 h 210"/>
              <a:gd name="T80" fmla="*/ 494 w 902"/>
              <a:gd name="T81" fmla="*/ 96 h 210"/>
              <a:gd name="T82" fmla="*/ 505 w 902"/>
              <a:gd name="T83" fmla="*/ 91 h 210"/>
              <a:gd name="T84" fmla="*/ 517 w 902"/>
              <a:gd name="T85" fmla="*/ 91 h 210"/>
              <a:gd name="T86" fmla="*/ 527 w 902"/>
              <a:gd name="T87" fmla="*/ 96 h 210"/>
              <a:gd name="T88" fmla="*/ 535 w 902"/>
              <a:gd name="T89" fmla="*/ 104 h 210"/>
              <a:gd name="T90" fmla="*/ 540 w 902"/>
              <a:gd name="T91" fmla="*/ 114 h 210"/>
              <a:gd name="T92" fmla="*/ 540 w 902"/>
              <a:gd name="T93" fmla="*/ 126 h 210"/>
              <a:gd name="T94" fmla="*/ 535 w 902"/>
              <a:gd name="T95" fmla="*/ 136 h 210"/>
              <a:gd name="T96" fmla="*/ 527 w 902"/>
              <a:gd name="T97" fmla="*/ 144 h 210"/>
              <a:gd name="T98" fmla="*/ 517 w 902"/>
              <a:gd name="T99" fmla="*/ 149 h 210"/>
              <a:gd name="T100" fmla="*/ 511 w 902"/>
              <a:gd name="T101" fmla="*/ 150 h 210"/>
              <a:gd name="T102" fmla="*/ 15 w 902"/>
              <a:gd name="T103" fmla="*/ 0 h 210"/>
              <a:gd name="T104" fmla="*/ 5 w 902"/>
              <a:gd name="T105" fmla="*/ 4 h 210"/>
              <a:gd name="T106" fmla="*/ 0 w 902"/>
              <a:gd name="T107" fmla="*/ 15 h 210"/>
              <a:gd name="T108" fmla="*/ 902 w 902"/>
              <a:gd name="T109" fmla="*/ 210 h 210"/>
              <a:gd name="T110" fmla="*/ 900 w 902"/>
              <a:gd name="T111" fmla="*/ 9 h 210"/>
              <a:gd name="T112" fmla="*/ 892 w 902"/>
              <a:gd name="T113" fmla="*/ 1 h 210"/>
              <a:gd name="T114" fmla="*/ 886 w 902"/>
              <a:gd name="T115" fmla="*/ 0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02" h="210">
                <a:moveTo>
                  <a:pt x="751" y="150"/>
                </a:moveTo>
                <a:lnTo>
                  <a:pt x="745" y="149"/>
                </a:lnTo>
                <a:lnTo>
                  <a:pt x="739" y="148"/>
                </a:lnTo>
                <a:lnTo>
                  <a:pt x="735" y="144"/>
                </a:lnTo>
                <a:lnTo>
                  <a:pt x="730" y="141"/>
                </a:lnTo>
                <a:lnTo>
                  <a:pt x="727" y="136"/>
                </a:lnTo>
                <a:lnTo>
                  <a:pt x="723" y="132"/>
                </a:lnTo>
                <a:lnTo>
                  <a:pt x="722" y="126"/>
                </a:lnTo>
                <a:lnTo>
                  <a:pt x="721" y="120"/>
                </a:lnTo>
                <a:lnTo>
                  <a:pt x="722" y="114"/>
                </a:lnTo>
                <a:lnTo>
                  <a:pt x="723" y="109"/>
                </a:lnTo>
                <a:lnTo>
                  <a:pt x="727" y="104"/>
                </a:lnTo>
                <a:lnTo>
                  <a:pt x="730" y="99"/>
                </a:lnTo>
                <a:lnTo>
                  <a:pt x="735" y="96"/>
                </a:lnTo>
                <a:lnTo>
                  <a:pt x="739" y="92"/>
                </a:lnTo>
                <a:lnTo>
                  <a:pt x="745" y="91"/>
                </a:lnTo>
                <a:lnTo>
                  <a:pt x="751" y="90"/>
                </a:lnTo>
                <a:lnTo>
                  <a:pt x="758" y="91"/>
                </a:lnTo>
                <a:lnTo>
                  <a:pt x="763" y="92"/>
                </a:lnTo>
                <a:lnTo>
                  <a:pt x="768" y="96"/>
                </a:lnTo>
                <a:lnTo>
                  <a:pt x="773" y="99"/>
                </a:lnTo>
                <a:lnTo>
                  <a:pt x="776" y="104"/>
                </a:lnTo>
                <a:lnTo>
                  <a:pt x="779" y="109"/>
                </a:lnTo>
                <a:lnTo>
                  <a:pt x="781" y="114"/>
                </a:lnTo>
                <a:lnTo>
                  <a:pt x="781" y="120"/>
                </a:lnTo>
                <a:lnTo>
                  <a:pt x="781" y="126"/>
                </a:lnTo>
                <a:lnTo>
                  <a:pt x="779" y="132"/>
                </a:lnTo>
                <a:lnTo>
                  <a:pt x="776" y="136"/>
                </a:lnTo>
                <a:lnTo>
                  <a:pt x="773" y="141"/>
                </a:lnTo>
                <a:lnTo>
                  <a:pt x="768" y="144"/>
                </a:lnTo>
                <a:lnTo>
                  <a:pt x="763" y="148"/>
                </a:lnTo>
                <a:lnTo>
                  <a:pt x="757" y="149"/>
                </a:lnTo>
                <a:lnTo>
                  <a:pt x="751" y="150"/>
                </a:lnTo>
                <a:lnTo>
                  <a:pt x="751" y="150"/>
                </a:lnTo>
                <a:close/>
                <a:moveTo>
                  <a:pt x="632" y="150"/>
                </a:moveTo>
                <a:lnTo>
                  <a:pt x="625" y="149"/>
                </a:lnTo>
                <a:lnTo>
                  <a:pt x="619" y="148"/>
                </a:lnTo>
                <a:lnTo>
                  <a:pt x="614" y="144"/>
                </a:lnTo>
                <a:lnTo>
                  <a:pt x="610" y="141"/>
                </a:lnTo>
                <a:lnTo>
                  <a:pt x="606" y="136"/>
                </a:lnTo>
                <a:lnTo>
                  <a:pt x="604" y="132"/>
                </a:lnTo>
                <a:lnTo>
                  <a:pt x="602" y="126"/>
                </a:lnTo>
                <a:lnTo>
                  <a:pt x="602" y="120"/>
                </a:lnTo>
                <a:lnTo>
                  <a:pt x="602" y="114"/>
                </a:lnTo>
                <a:lnTo>
                  <a:pt x="604" y="109"/>
                </a:lnTo>
                <a:lnTo>
                  <a:pt x="606" y="104"/>
                </a:lnTo>
                <a:lnTo>
                  <a:pt x="610" y="99"/>
                </a:lnTo>
                <a:lnTo>
                  <a:pt x="614" y="96"/>
                </a:lnTo>
                <a:lnTo>
                  <a:pt x="619" y="92"/>
                </a:lnTo>
                <a:lnTo>
                  <a:pt x="625" y="91"/>
                </a:lnTo>
                <a:lnTo>
                  <a:pt x="632" y="90"/>
                </a:lnTo>
                <a:lnTo>
                  <a:pt x="637" y="91"/>
                </a:lnTo>
                <a:lnTo>
                  <a:pt x="643" y="92"/>
                </a:lnTo>
                <a:lnTo>
                  <a:pt x="648" y="96"/>
                </a:lnTo>
                <a:lnTo>
                  <a:pt x="652" y="99"/>
                </a:lnTo>
                <a:lnTo>
                  <a:pt x="656" y="104"/>
                </a:lnTo>
                <a:lnTo>
                  <a:pt x="658" y="109"/>
                </a:lnTo>
                <a:lnTo>
                  <a:pt x="661" y="114"/>
                </a:lnTo>
                <a:lnTo>
                  <a:pt x="661" y="120"/>
                </a:lnTo>
                <a:lnTo>
                  <a:pt x="661" y="126"/>
                </a:lnTo>
                <a:lnTo>
                  <a:pt x="658" y="132"/>
                </a:lnTo>
                <a:lnTo>
                  <a:pt x="656" y="136"/>
                </a:lnTo>
                <a:lnTo>
                  <a:pt x="652" y="141"/>
                </a:lnTo>
                <a:lnTo>
                  <a:pt x="648" y="144"/>
                </a:lnTo>
                <a:lnTo>
                  <a:pt x="643" y="148"/>
                </a:lnTo>
                <a:lnTo>
                  <a:pt x="637" y="149"/>
                </a:lnTo>
                <a:lnTo>
                  <a:pt x="632" y="150"/>
                </a:lnTo>
                <a:lnTo>
                  <a:pt x="632" y="150"/>
                </a:lnTo>
                <a:close/>
                <a:moveTo>
                  <a:pt x="511" y="150"/>
                </a:moveTo>
                <a:lnTo>
                  <a:pt x="505" y="149"/>
                </a:lnTo>
                <a:lnTo>
                  <a:pt x="500" y="148"/>
                </a:lnTo>
                <a:lnTo>
                  <a:pt x="494" y="144"/>
                </a:lnTo>
                <a:lnTo>
                  <a:pt x="489" y="141"/>
                </a:lnTo>
                <a:lnTo>
                  <a:pt x="486" y="136"/>
                </a:lnTo>
                <a:lnTo>
                  <a:pt x="483" y="132"/>
                </a:lnTo>
                <a:lnTo>
                  <a:pt x="481" y="126"/>
                </a:lnTo>
                <a:lnTo>
                  <a:pt x="481" y="120"/>
                </a:lnTo>
                <a:lnTo>
                  <a:pt x="481" y="114"/>
                </a:lnTo>
                <a:lnTo>
                  <a:pt x="483" y="109"/>
                </a:lnTo>
                <a:lnTo>
                  <a:pt x="486" y="104"/>
                </a:lnTo>
                <a:lnTo>
                  <a:pt x="489" y="99"/>
                </a:lnTo>
                <a:lnTo>
                  <a:pt x="494" y="96"/>
                </a:lnTo>
                <a:lnTo>
                  <a:pt x="500" y="92"/>
                </a:lnTo>
                <a:lnTo>
                  <a:pt x="505" y="91"/>
                </a:lnTo>
                <a:lnTo>
                  <a:pt x="511" y="90"/>
                </a:lnTo>
                <a:lnTo>
                  <a:pt x="517" y="91"/>
                </a:lnTo>
                <a:lnTo>
                  <a:pt x="523" y="92"/>
                </a:lnTo>
                <a:lnTo>
                  <a:pt x="527" y="96"/>
                </a:lnTo>
                <a:lnTo>
                  <a:pt x="532" y="99"/>
                </a:lnTo>
                <a:lnTo>
                  <a:pt x="535" y="104"/>
                </a:lnTo>
                <a:lnTo>
                  <a:pt x="539" y="109"/>
                </a:lnTo>
                <a:lnTo>
                  <a:pt x="540" y="114"/>
                </a:lnTo>
                <a:lnTo>
                  <a:pt x="541" y="120"/>
                </a:lnTo>
                <a:lnTo>
                  <a:pt x="540" y="126"/>
                </a:lnTo>
                <a:lnTo>
                  <a:pt x="539" y="132"/>
                </a:lnTo>
                <a:lnTo>
                  <a:pt x="535" y="136"/>
                </a:lnTo>
                <a:lnTo>
                  <a:pt x="532" y="141"/>
                </a:lnTo>
                <a:lnTo>
                  <a:pt x="527" y="144"/>
                </a:lnTo>
                <a:lnTo>
                  <a:pt x="523" y="148"/>
                </a:lnTo>
                <a:lnTo>
                  <a:pt x="517" y="149"/>
                </a:lnTo>
                <a:lnTo>
                  <a:pt x="511" y="150"/>
                </a:lnTo>
                <a:lnTo>
                  <a:pt x="511" y="150"/>
                </a:lnTo>
                <a:close/>
                <a:moveTo>
                  <a:pt x="886" y="0"/>
                </a:moveTo>
                <a:lnTo>
                  <a:pt x="15" y="0"/>
                </a:lnTo>
                <a:lnTo>
                  <a:pt x="10" y="1"/>
                </a:lnTo>
                <a:lnTo>
                  <a:pt x="5" y="4"/>
                </a:lnTo>
                <a:lnTo>
                  <a:pt x="2" y="9"/>
                </a:lnTo>
                <a:lnTo>
                  <a:pt x="0" y="15"/>
                </a:lnTo>
                <a:lnTo>
                  <a:pt x="0" y="210"/>
                </a:lnTo>
                <a:lnTo>
                  <a:pt x="902" y="210"/>
                </a:lnTo>
                <a:lnTo>
                  <a:pt x="902" y="15"/>
                </a:lnTo>
                <a:lnTo>
                  <a:pt x="900" y="9"/>
                </a:lnTo>
                <a:lnTo>
                  <a:pt x="897" y="4"/>
                </a:lnTo>
                <a:lnTo>
                  <a:pt x="892" y="1"/>
                </a:lnTo>
                <a:lnTo>
                  <a:pt x="886" y="0"/>
                </a:lnTo>
                <a:lnTo>
                  <a:pt x="88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文字方塊 24"/>
          <p:cNvSpPr txBox="1"/>
          <p:nvPr/>
        </p:nvSpPr>
        <p:spPr>
          <a:xfrm>
            <a:off x="307975" y="1600200"/>
            <a:ext cx="4283817" cy="537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</a:t>
            </a:r>
            <a:r>
              <a:rPr lang="zh-TW" altLang="en-US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如何借書</a:t>
            </a:r>
            <a:r>
              <a:rPr lang="en-US" altLang="zh-TW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?</a:t>
            </a:r>
            <a:endParaRPr lang="en-US" altLang="zh-TW" sz="2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4" name="圖片 13"/>
          <p:cNvPicPr/>
          <p:nvPr/>
        </p:nvPicPr>
        <p:blipFill rotWithShape="1">
          <a:blip r:embed="rId2"/>
          <a:srcRect b="4191"/>
          <a:stretch/>
        </p:blipFill>
        <p:spPr>
          <a:xfrm>
            <a:off x="2351732" y="3063491"/>
            <a:ext cx="5903104" cy="3392727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矩形 14"/>
          <p:cNvSpPr/>
          <p:nvPr/>
        </p:nvSpPr>
        <p:spPr>
          <a:xfrm>
            <a:off x="4191000" y="1585356"/>
            <a:ext cx="4599540" cy="13716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借閱需登入，借閱成功後</a:t>
            </a:r>
            <a:r>
              <a:rPr lang="zh-TW" altLang="en-US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可至</a:t>
            </a:r>
            <a:r>
              <a:rPr lang="en-US" altLang="zh-TW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PP</a:t>
            </a:r>
            <a:r>
              <a:rPr lang="zh-TW" altLang="en-US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zh-TW" altLang="en-US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下載書籍</a:t>
            </a:r>
            <a:r>
              <a:rPr lang="zh-TW" altLang="en-US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閱讀。</a:t>
            </a:r>
            <a:endParaRPr lang="en-US" altLang="zh-TW" b="1" dirty="0" smtClean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借閱期限到期後，書籍會自動歸還。</a:t>
            </a:r>
          </a:p>
        </p:txBody>
      </p:sp>
      <p:sp>
        <p:nvSpPr>
          <p:cNvPr id="16" name="矩形 15"/>
          <p:cNvSpPr/>
          <p:nvPr/>
        </p:nvSpPr>
        <p:spPr>
          <a:xfrm>
            <a:off x="4572000" y="5200400"/>
            <a:ext cx="2231611" cy="90674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TW" altLang="en-US" sz="16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借閱書籍後，詳目頁可還書或續借</a:t>
            </a:r>
            <a:r>
              <a:rPr lang="en-US" altLang="zh-TW" sz="16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!</a:t>
            </a:r>
            <a:endParaRPr lang="zh-TW" altLang="en-US" sz="16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8" name="Picture 2" descr="https://i.gyazo.com/6ef6c581c7e0e947715102620fc18f07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1" t="3785" r="3401" b="3154"/>
          <a:stretch/>
        </p:blipFill>
        <p:spPr bwMode="auto">
          <a:xfrm>
            <a:off x="533400" y="2362202"/>
            <a:ext cx="3486648" cy="2221675"/>
          </a:xfrm>
          <a:prstGeom prst="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https://i.gyazo.com/8f22424076e22ed551b16dc7ba556457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308" t="73178" r="1446" b="7536"/>
          <a:stretch/>
        </p:blipFill>
        <p:spPr bwMode="auto">
          <a:xfrm>
            <a:off x="6990568" y="5200400"/>
            <a:ext cx="1162832" cy="534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矩形 29"/>
          <p:cNvSpPr/>
          <p:nvPr/>
        </p:nvSpPr>
        <p:spPr>
          <a:xfrm>
            <a:off x="6967846" y="5200399"/>
            <a:ext cx="1286989" cy="533401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2" name="文字方塊 1"/>
          <p:cNvSpPr txBox="1"/>
          <p:nvPr/>
        </p:nvSpPr>
        <p:spPr>
          <a:xfrm>
            <a:off x="1518077" y="3252801"/>
            <a:ext cx="963725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zh-TW" sz="1100" dirty="0" smtClean="0">
                <a:solidFill>
                  <a:srgbClr val="0070C0"/>
                </a:solidFill>
              </a:rPr>
              <a:t>Airiti Reader  </a:t>
            </a:r>
            <a:endParaRPr lang="zh-TW" altLang="en-US" sz="1100" dirty="0">
              <a:solidFill>
                <a:srgbClr val="0070C0"/>
              </a:solidFill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9883" y="3255236"/>
            <a:ext cx="25200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11445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400" y="0"/>
            <a:ext cx="9169400" cy="121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標題 2"/>
          <p:cNvSpPr>
            <a:spLocks noGrp="1"/>
          </p:cNvSpPr>
          <p:nvPr>
            <p:ph type="ctrTitle"/>
          </p:nvPr>
        </p:nvSpPr>
        <p:spPr>
          <a:xfrm>
            <a:off x="2388293" y="192006"/>
            <a:ext cx="5029200" cy="914400"/>
          </a:xfrm>
        </p:spPr>
        <p:txBody>
          <a:bodyPr>
            <a:normAutofit/>
          </a:bodyPr>
          <a:lstStyle/>
          <a:p>
            <a:pPr algn="l"/>
            <a:r>
              <a:rPr lang="zh-TW" altLang="en-US" sz="36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功能說明</a:t>
            </a:r>
            <a:endParaRPr lang="zh-TW" altLang="en-US" sz="32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/>
          </a:p>
        </p:txBody>
      </p:sp>
      <p:sp>
        <p:nvSpPr>
          <p:cNvPr id="27" name="Freeform 4777">
            <a:extLst>
              <a:ext uri="{FF2B5EF4-FFF2-40B4-BE49-F238E27FC236}">
                <a16:creationId xmlns="" xmlns:a16="http://schemas.microsoft.com/office/drawing/2014/main" id="{8C2F6FD5-B324-40F5-B07F-DCC3F9F9DA63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536856"/>
            <a:ext cx="396000" cy="288000"/>
          </a:xfrm>
          <a:custGeom>
            <a:avLst/>
            <a:gdLst>
              <a:gd name="T0" fmla="*/ 216 w 902"/>
              <a:gd name="T1" fmla="*/ 331 h 510"/>
              <a:gd name="T2" fmla="*/ 225 w 902"/>
              <a:gd name="T3" fmla="*/ 345 h 510"/>
              <a:gd name="T4" fmla="*/ 216 w 902"/>
              <a:gd name="T5" fmla="*/ 359 h 510"/>
              <a:gd name="T6" fmla="*/ 145 w 902"/>
              <a:gd name="T7" fmla="*/ 359 h 510"/>
              <a:gd name="T8" fmla="*/ 136 w 902"/>
              <a:gd name="T9" fmla="*/ 345 h 510"/>
              <a:gd name="T10" fmla="*/ 145 w 902"/>
              <a:gd name="T11" fmla="*/ 331 h 510"/>
              <a:gd name="T12" fmla="*/ 151 w 902"/>
              <a:gd name="T13" fmla="*/ 209 h 510"/>
              <a:gd name="T14" fmla="*/ 222 w 902"/>
              <a:gd name="T15" fmla="*/ 214 h 510"/>
              <a:gd name="T16" fmla="*/ 224 w 902"/>
              <a:gd name="T17" fmla="*/ 230 h 510"/>
              <a:gd name="T18" fmla="*/ 210 w 902"/>
              <a:gd name="T19" fmla="*/ 239 h 510"/>
              <a:gd name="T20" fmla="*/ 139 w 902"/>
              <a:gd name="T21" fmla="*/ 235 h 510"/>
              <a:gd name="T22" fmla="*/ 137 w 902"/>
              <a:gd name="T23" fmla="*/ 218 h 510"/>
              <a:gd name="T24" fmla="*/ 151 w 902"/>
              <a:gd name="T25" fmla="*/ 209 h 510"/>
              <a:gd name="T26" fmla="*/ 210 w 902"/>
              <a:gd name="T27" fmla="*/ 90 h 510"/>
              <a:gd name="T28" fmla="*/ 224 w 902"/>
              <a:gd name="T29" fmla="*/ 99 h 510"/>
              <a:gd name="T30" fmla="*/ 222 w 902"/>
              <a:gd name="T31" fmla="*/ 115 h 510"/>
              <a:gd name="T32" fmla="*/ 151 w 902"/>
              <a:gd name="T33" fmla="*/ 119 h 510"/>
              <a:gd name="T34" fmla="*/ 137 w 902"/>
              <a:gd name="T35" fmla="*/ 111 h 510"/>
              <a:gd name="T36" fmla="*/ 139 w 902"/>
              <a:gd name="T37" fmla="*/ 93 h 510"/>
              <a:gd name="T38" fmla="*/ 330 w 902"/>
              <a:gd name="T39" fmla="*/ 330 h 510"/>
              <a:gd name="T40" fmla="*/ 732 w 902"/>
              <a:gd name="T41" fmla="*/ 334 h 510"/>
              <a:gd name="T42" fmla="*/ 735 w 902"/>
              <a:gd name="T43" fmla="*/ 350 h 510"/>
              <a:gd name="T44" fmla="*/ 721 w 902"/>
              <a:gd name="T45" fmla="*/ 360 h 510"/>
              <a:gd name="T46" fmla="*/ 320 w 902"/>
              <a:gd name="T47" fmla="*/ 355 h 510"/>
              <a:gd name="T48" fmla="*/ 317 w 902"/>
              <a:gd name="T49" fmla="*/ 339 h 510"/>
              <a:gd name="T50" fmla="*/ 330 w 902"/>
              <a:gd name="T51" fmla="*/ 330 h 510"/>
              <a:gd name="T52" fmla="*/ 721 w 902"/>
              <a:gd name="T53" fmla="*/ 209 h 510"/>
              <a:gd name="T54" fmla="*/ 735 w 902"/>
              <a:gd name="T55" fmla="*/ 218 h 510"/>
              <a:gd name="T56" fmla="*/ 732 w 902"/>
              <a:gd name="T57" fmla="*/ 235 h 510"/>
              <a:gd name="T58" fmla="*/ 330 w 902"/>
              <a:gd name="T59" fmla="*/ 239 h 510"/>
              <a:gd name="T60" fmla="*/ 317 w 902"/>
              <a:gd name="T61" fmla="*/ 230 h 510"/>
              <a:gd name="T62" fmla="*/ 320 w 902"/>
              <a:gd name="T63" fmla="*/ 214 h 510"/>
              <a:gd name="T64" fmla="*/ 330 w 902"/>
              <a:gd name="T65" fmla="*/ 209 h 510"/>
              <a:gd name="T66" fmla="*/ 727 w 902"/>
              <a:gd name="T67" fmla="*/ 91 h 510"/>
              <a:gd name="T68" fmla="*/ 736 w 902"/>
              <a:gd name="T69" fmla="*/ 105 h 510"/>
              <a:gd name="T70" fmla="*/ 727 w 902"/>
              <a:gd name="T71" fmla="*/ 118 h 510"/>
              <a:gd name="T72" fmla="*/ 325 w 902"/>
              <a:gd name="T73" fmla="*/ 118 h 510"/>
              <a:gd name="T74" fmla="*/ 315 w 902"/>
              <a:gd name="T75" fmla="*/ 105 h 510"/>
              <a:gd name="T76" fmla="*/ 325 w 902"/>
              <a:gd name="T77" fmla="*/ 91 h 510"/>
              <a:gd name="T78" fmla="*/ 2 w 902"/>
              <a:gd name="T79" fmla="*/ 501 h 510"/>
              <a:gd name="T80" fmla="*/ 15 w 902"/>
              <a:gd name="T81" fmla="*/ 510 h 510"/>
              <a:gd name="T82" fmla="*/ 897 w 902"/>
              <a:gd name="T83" fmla="*/ 506 h 510"/>
              <a:gd name="T84" fmla="*/ 902 w 902"/>
              <a:gd name="T85" fmla="*/ 0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02" h="510">
                <a:moveTo>
                  <a:pt x="151" y="330"/>
                </a:moveTo>
                <a:lnTo>
                  <a:pt x="210" y="330"/>
                </a:lnTo>
                <a:lnTo>
                  <a:pt x="216" y="331"/>
                </a:lnTo>
                <a:lnTo>
                  <a:pt x="222" y="334"/>
                </a:lnTo>
                <a:lnTo>
                  <a:pt x="224" y="339"/>
                </a:lnTo>
                <a:lnTo>
                  <a:pt x="225" y="345"/>
                </a:lnTo>
                <a:lnTo>
                  <a:pt x="224" y="350"/>
                </a:lnTo>
                <a:lnTo>
                  <a:pt x="222" y="355"/>
                </a:lnTo>
                <a:lnTo>
                  <a:pt x="216" y="359"/>
                </a:lnTo>
                <a:lnTo>
                  <a:pt x="210" y="360"/>
                </a:lnTo>
                <a:lnTo>
                  <a:pt x="151" y="360"/>
                </a:lnTo>
                <a:lnTo>
                  <a:pt x="145" y="359"/>
                </a:lnTo>
                <a:lnTo>
                  <a:pt x="139" y="355"/>
                </a:lnTo>
                <a:lnTo>
                  <a:pt x="137" y="350"/>
                </a:lnTo>
                <a:lnTo>
                  <a:pt x="136" y="345"/>
                </a:lnTo>
                <a:lnTo>
                  <a:pt x="137" y="339"/>
                </a:lnTo>
                <a:lnTo>
                  <a:pt x="139" y="334"/>
                </a:lnTo>
                <a:lnTo>
                  <a:pt x="145" y="331"/>
                </a:lnTo>
                <a:lnTo>
                  <a:pt x="151" y="330"/>
                </a:lnTo>
                <a:lnTo>
                  <a:pt x="151" y="330"/>
                </a:lnTo>
                <a:close/>
                <a:moveTo>
                  <a:pt x="151" y="209"/>
                </a:moveTo>
                <a:lnTo>
                  <a:pt x="210" y="209"/>
                </a:lnTo>
                <a:lnTo>
                  <a:pt x="216" y="210"/>
                </a:lnTo>
                <a:lnTo>
                  <a:pt x="222" y="214"/>
                </a:lnTo>
                <a:lnTo>
                  <a:pt x="224" y="218"/>
                </a:lnTo>
                <a:lnTo>
                  <a:pt x="225" y="224"/>
                </a:lnTo>
                <a:lnTo>
                  <a:pt x="224" y="230"/>
                </a:lnTo>
                <a:lnTo>
                  <a:pt x="222" y="235"/>
                </a:lnTo>
                <a:lnTo>
                  <a:pt x="216" y="238"/>
                </a:lnTo>
                <a:lnTo>
                  <a:pt x="210" y="239"/>
                </a:lnTo>
                <a:lnTo>
                  <a:pt x="151" y="239"/>
                </a:lnTo>
                <a:lnTo>
                  <a:pt x="145" y="238"/>
                </a:lnTo>
                <a:lnTo>
                  <a:pt x="139" y="235"/>
                </a:lnTo>
                <a:lnTo>
                  <a:pt x="137" y="230"/>
                </a:lnTo>
                <a:lnTo>
                  <a:pt x="136" y="224"/>
                </a:lnTo>
                <a:lnTo>
                  <a:pt x="137" y="218"/>
                </a:lnTo>
                <a:lnTo>
                  <a:pt x="139" y="214"/>
                </a:lnTo>
                <a:lnTo>
                  <a:pt x="145" y="210"/>
                </a:lnTo>
                <a:lnTo>
                  <a:pt x="151" y="209"/>
                </a:lnTo>
                <a:lnTo>
                  <a:pt x="151" y="209"/>
                </a:lnTo>
                <a:close/>
                <a:moveTo>
                  <a:pt x="151" y="90"/>
                </a:moveTo>
                <a:lnTo>
                  <a:pt x="210" y="90"/>
                </a:lnTo>
                <a:lnTo>
                  <a:pt x="216" y="91"/>
                </a:lnTo>
                <a:lnTo>
                  <a:pt x="222" y="93"/>
                </a:lnTo>
                <a:lnTo>
                  <a:pt x="224" y="99"/>
                </a:lnTo>
                <a:lnTo>
                  <a:pt x="225" y="105"/>
                </a:lnTo>
                <a:lnTo>
                  <a:pt x="224" y="111"/>
                </a:lnTo>
                <a:lnTo>
                  <a:pt x="222" y="115"/>
                </a:lnTo>
                <a:lnTo>
                  <a:pt x="216" y="118"/>
                </a:lnTo>
                <a:lnTo>
                  <a:pt x="210" y="120"/>
                </a:lnTo>
                <a:lnTo>
                  <a:pt x="151" y="119"/>
                </a:lnTo>
                <a:lnTo>
                  <a:pt x="145" y="118"/>
                </a:lnTo>
                <a:lnTo>
                  <a:pt x="139" y="115"/>
                </a:lnTo>
                <a:lnTo>
                  <a:pt x="137" y="111"/>
                </a:lnTo>
                <a:lnTo>
                  <a:pt x="136" y="105"/>
                </a:lnTo>
                <a:lnTo>
                  <a:pt x="137" y="99"/>
                </a:lnTo>
                <a:lnTo>
                  <a:pt x="139" y="93"/>
                </a:lnTo>
                <a:lnTo>
                  <a:pt x="145" y="91"/>
                </a:lnTo>
                <a:lnTo>
                  <a:pt x="151" y="90"/>
                </a:lnTo>
                <a:close/>
                <a:moveTo>
                  <a:pt x="330" y="330"/>
                </a:moveTo>
                <a:lnTo>
                  <a:pt x="721" y="330"/>
                </a:lnTo>
                <a:lnTo>
                  <a:pt x="727" y="331"/>
                </a:lnTo>
                <a:lnTo>
                  <a:pt x="732" y="334"/>
                </a:lnTo>
                <a:lnTo>
                  <a:pt x="735" y="339"/>
                </a:lnTo>
                <a:lnTo>
                  <a:pt x="736" y="345"/>
                </a:lnTo>
                <a:lnTo>
                  <a:pt x="735" y="350"/>
                </a:lnTo>
                <a:lnTo>
                  <a:pt x="732" y="355"/>
                </a:lnTo>
                <a:lnTo>
                  <a:pt x="727" y="359"/>
                </a:lnTo>
                <a:lnTo>
                  <a:pt x="721" y="360"/>
                </a:lnTo>
                <a:lnTo>
                  <a:pt x="330" y="360"/>
                </a:lnTo>
                <a:lnTo>
                  <a:pt x="325" y="359"/>
                </a:lnTo>
                <a:lnTo>
                  <a:pt x="320" y="355"/>
                </a:lnTo>
                <a:lnTo>
                  <a:pt x="317" y="350"/>
                </a:lnTo>
                <a:lnTo>
                  <a:pt x="315" y="345"/>
                </a:lnTo>
                <a:lnTo>
                  <a:pt x="317" y="339"/>
                </a:lnTo>
                <a:lnTo>
                  <a:pt x="320" y="334"/>
                </a:lnTo>
                <a:lnTo>
                  <a:pt x="325" y="331"/>
                </a:lnTo>
                <a:lnTo>
                  <a:pt x="330" y="330"/>
                </a:lnTo>
                <a:lnTo>
                  <a:pt x="330" y="330"/>
                </a:lnTo>
                <a:close/>
                <a:moveTo>
                  <a:pt x="330" y="209"/>
                </a:moveTo>
                <a:lnTo>
                  <a:pt x="721" y="209"/>
                </a:lnTo>
                <a:lnTo>
                  <a:pt x="727" y="210"/>
                </a:lnTo>
                <a:lnTo>
                  <a:pt x="732" y="214"/>
                </a:lnTo>
                <a:lnTo>
                  <a:pt x="735" y="218"/>
                </a:lnTo>
                <a:lnTo>
                  <a:pt x="736" y="224"/>
                </a:lnTo>
                <a:lnTo>
                  <a:pt x="735" y="230"/>
                </a:lnTo>
                <a:lnTo>
                  <a:pt x="732" y="235"/>
                </a:lnTo>
                <a:lnTo>
                  <a:pt x="727" y="238"/>
                </a:lnTo>
                <a:lnTo>
                  <a:pt x="721" y="239"/>
                </a:lnTo>
                <a:lnTo>
                  <a:pt x="330" y="239"/>
                </a:lnTo>
                <a:lnTo>
                  <a:pt x="325" y="238"/>
                </a:lnTo>
                <a:lnTo>
                  <a:pt x="320" y="235"/>
                </a:lnTo>
                <a:lnTo>
                  <a:pt x="317" y="230"/>
                </a:lnTo>
                <a:lnTo>
                  <a:pt x="315" y="224"/>
                </a:lnTo>
                <a:lnTo>
                  <a:pt x="317" y="218"/>
                </a:lnTo>
                <a:lnTo>
                  <a:pt x="320" y="214"/>
                </a:lnTo>
                <a:lnTo>
                  <a:pt x="325" y="210"/>
                </a:lnTo>
                <a:lnTo>
                  <a:pt x="330" y="209"/>
                </a:lnTo>
                <a:lnTo>
                  <a:pt x="330" y="209"/>
                </a:lnTo>
                <a:close/>
                <a:moveTo>
                  <a:pt x="330" y="90"/>
                </a:moveTo>
                <a:lnTo>
                  <a:pt x="721" y="90"/>
                </a:lnTo>
                <a:lnTo>
                  <a:pt x="727" y="91"/>
                </a:lnTo>
                <a:lnTo>
                  <a:pt x="732" y="93"/>
                </a:lnTo>
                <a:lnTo>
                  <a:pt x="735" y="99"/>
                </a:lnTo>
                <a:lnTo>
                  <a:pt x="736" y="105"/>
                </a:lnTo>
                <a:lnTo>
                  <a:pt x="735" y="111"/>
                </a:lnTo>
                <a:lnTo>
                  <a:pt x="732" y="115"/>
                </a:lnTo>
                <a:lnTo>
                  <a:pt x="727" y="118"/>
                </a:lnTo>
                <a:lnTo>
                  <a:pt x="721" y="120"/>
                </a:lnTo>
                <a:lnTo>
                  <a:pt x="330" y="119"/>
                </a:lnTo>
                <a:lnTo>
                  <a:pt x="325" y="118"/>
                </a:lnTo>
                <a:lnTo>
                  <a:pt x="320" y="115"/>
                </a:lnTo>
                <a:lnTo>
                  <a:pt x="317" y="111"/>
                </a:lnTo>
                <a:lnTo>
                  <a:pt x="315" y="105"/>
                </a:lnTo>
                <a:lnTo>
                  <a:pt x="317" y="99"/>
                </a:lnTo>
                <a:lnTo>
                  <a:pt x="320" y="93"/>
                </a:lnTo>
                <a:lnTo>
                  <a:pt x="325" y="91"/>
                </a:lnTo>
                <a:lnTo>
                  <a:pt x="330" y="90"/>
                </a:lnTo>
                <a:close/>
                <a:moveTo>
                  <a:pt x="0" y="495"/>
                </a:moveTo>
                <a:lnTo>
                  <a:pt x="2" y="501"/>
                </a:lnTo>
                <a:lnTo>
                  <a:pt x="5" y="506"/>
                </a:lnTo>
                <a:lnTo>
                  <a:pt x="10" y="509"/>
                </a:lnTo>
                <a:lnTo>
                  <a:pt x="15" y="510"/>
                </a:lnTo>
                <a:lnTo>
                  <a:pt x="886" y="510"/>
                </a:lnTo>
                <a:lnTo>
                  <a:pt x="892" y="509"/>
                </a:lnTo>
                <a:lnTo>
                  <a:pt x="897" y="506"/>
                </a:lnTo>
                <a:lnTo>
                  <a:pt x="900" y="501"/>
                </a:lnTo>
                <a:lnTo>
                  <a:pt x="902" y="495"/>
                </a:lnTo>
                <a:lnTo>
                  <a:pt x="902" y="0"/>
                </a:lnTo>
                <a:lnTo>
                  <a:pt x="0" y="0"/>
                </a:lnTo>
                <a:lnTo>
                  <a:pt x="0" y="4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/>
          </a:p>
        </p:txBody>
      </p:sp>
      <p:sp>
        <p:nvSpPr>
          <p:cNvPr id="28" name="Freeform 4776">
            <a:extLst>
              <a:ext uri="{FF2B5EF4-FFF2-40B4-BE49-F238E27FC236}">
                <a16:creationId xmlns="" xmlns:a16="http://schemas.microsoft.com/office/drawing/2014/main" id="{C8092ED1-DF13-4A88-9140-B942AF4CC42C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424036"/>
            <a:ext cx="396000" cy="72000"/>
          </a:xfrm>
          <a:custGeom>
            <a:avLst/>
            <a:gdLst>
              <a:gd name="T0" fmla="*/ 745 w 902"/>
              <a:gd name="T1" fmla="*/ 149 h 210"/>
              <a:gd name="T2" fmla="*/ 735 w 902"/>
              <a:gd name="T3" fmla="*/ 144 h 210"/>
              <a:gd name="T4" fmla="*/ 727 w 902"/>
              <a:gd name="T5" fmla="*/ 136 h 210"/>
              <a:gd name="T6" fmla="*/ 722 w 902"/>
              <a:gd name="T7" fmla="*/ 126 h 210"/>
              <a:gd name="T8" fmla="*/ 722 w 902"/>
              <a:gd name="T9" fmla="*/ 114 h 210"/>
              <a:gd name="T10" fmla="*/ 727 w 902"/>
              <a:gd name="T11" fmla="*/ 104 h 210"/>
              <a:gd name="T12" fmla="*/ 735 w 902"/>
              <a:gd name="T13" fmla="*/ 96 h 210"/>
              <a:gd name="T14" fmla="*/ 745 w 902"/>
              <a:gd name="T15" fmla="*/ 91 h 210"/>
              <a:gd name="T16" fmla="*/ 758 w 902"/>
              <a:gd name="T17" fmla="*/ 91 h 210"/>
              <a:gd name="T18" fmla="*/ 768 w 902"/>
              <a:gd name="T19" fmla="*/ 96 h 210"/>
              <a:gd name="T20" fmla="*/ 776 w 902"/>
              <a:gd name="T21" fmla="*/ 104 h 210"/>
              <a:gd name="T22" fmla="*/ 781 w 902"/>
              <a:gd name="T23" fmla="*/ 114 h 210"/>
              <a:gd name="T24" fmla="*/ 781 w 902"/>
              <a:gd name="T25" fmla="*/ 126 h 210"/>
              <a:gd name="T26" fmla="*/ 776 w 902"/>
              <a:gd name="T27" fmla="*/ 136 h 210"/>
              <a:gd name="T28" fmla="*/ 768 w 902"/>
              <a:gd name="T29" fmla="*/ 144 h 210"/>
              <a:gd name="T30" fmla="*/ 757 w 902"/>
              <a:gd name="T31" fmla="*/ 149 h 210"/>
              <a:gd name="T32" fmla="*/ 751 w 902"/>
              <a:gd name="T33" fmla="*/ 150 h 210"/>
              <a:gd name="T34" fmla="*/ 625 w 902"/>
              <a:gd name="T35" fmla="*/ 149 h 210"/>
              <a:gd name="T36" fmla="*/ 614 w 902"/>
              <a:gd name="T37" fmla="*/ 144 h 210"/>
              <a:gd name="T38" fmla="*/ 606 w 902"/>
              <a:gd name="T39" fmla="*/ 136 h 210"/>
              <a:gd name="T40" fmla="*/ 602 w 902"/>
              <a:gd name="T41" fmla="*/ 126 h 210"/>
              <a:gd name="T42" fmla="*/ 602 w 902"/>
              <a:gd name="T43" fmla="*/ 114 h 210"/>
              <a:gd name="T44" fmla="*/ 606 w 902"/>
              <a:gd name="T45" fmla="*/ 104 h 210"/>
              <a:gd name="T46" fmla="*/ 614 w 902"/>
              <a:gd name="T47" fmla="*/ 96 h 210"/>
              <a:gd name="T48" fmla="*/ 625 w 902"/>
              <a:gd name="T49" fmla="*/ 91 h 210"/>
              <a:gd name="T50" fmla="*/ 637 w 902"/>
              <a:gd name="T51" fmla="*/ 91 h 210"/>
              <a:gd name="T52" fmla="*/ 648 w 902"/>
              <a:gd name="T53" fmla="*/ 96 h 210"/>
              <a:gd name="T54" fmla="*/ 656 w 902"/>
              <a:gd name="T55" fmla="*/ 104 h 210"/>
              <a:gd name="T56" fmla="*/ 661 w 902"/>
              <a:gd name="T57" fmla="*/ 114 h 210"/>
              <a:gd name="T58" fmla="*/ 661 w 902"/>
              <a:gd name="T59" fmla="*/ 126 h 210"/>
              <a:gd name="T60" fmla="*/ 656 w 902"/>
              <a:gd name="T61" fmla="*/ 136 h 210"/>
              <a:gd name="T62" fmla="*/ 648 w 902"/>
              <a:gd name="T63" fmla="*/ 144 h 210"/>
              <a:gd name="T64" fmla="*/ 637 w 902"/>
              <a:gd name="T65" fmla="*/ 149 h 210"/>
              <a:gd name="T66" fmla="*/ 632 w 902"/>
              <a:gd name="T67" fmla="*/ 150 h 210"/>
              <a:gd name="T68" fmla="*/ 505 w 902"/>
              <a:gd name="T69" fmla="*/ 149 h 210"/>
              <a:gd name="T70" fmla="*/ 494 w 902"/>
              <a:gd name="T71" fmla="*/ 144 h 210"/>
              <a:gd name="T72" fmla="*/ 486 w 902"/>
              <a:gd name="T73" fmla="*/ 136 h 210"/>
              <a:gd name="T74" fmla="*/ 481 w 902"/>
              <a:gd name="T75" fmla="*/ 126 h 210"/>
              <a:gd name="T76" fmla="*/ 481 w 902"/>
              <a:gd name="T77" fmla="*/ 114 h 210"/>
              <a:gd name="T78" fmla="*/ 486 w 902"/>
              <a:gd name="T79" fmla="*/ 104 h 210"/>
              <a:gd name="T80" fmla="*/ 494 w 902"/>
              <a:gd name="T81" fmla="*/ 96 h 210"/>
              <a:gd name="T82" fmla="*/ 505 w 902"/>
              <a:gd name="T83" fmla="*/ 91 h 210"/>
              <a:gd name="T84" fmla="*/ 517 w 902"/>
              <a:gd name="T85" fmla="*/ 91 h 210"/>
              <a:gd name="T86" fmla="*/ 527 w 902"/>
              <a:gd name="T87" fmla="*/ 96 h 210"/>
              <a:gd name="T88" fmla="*/ 535 w 902"/>
              <a:gd name="T89" fmla="*/ 104 h 210"/>
              <a:gd name="T90" fmla="*/ 540 w 902"/>
              <a:gd name="T91" fmla="*/ 114 h 210"/>
              <a:gd name="T92" fmla="*/ 540 w 902"/>
              <a:gd name="T93" fmla="*/ 126 h 210"/>
              <a:gd name="T94" fmla="*/ 535 w 902"/>
              <a:gd name="T95" fmla="*/ 136 h 210"/>
              <a:gd name="T96" fmla="*/ 527 w 902"/>
              <a:gd name="T97" fmla="*/ 144 h 210"/>
              <a:gd name="T98" fmla="*/ 517 w 902"/>
              <a:gd name="T99" fmla="*/ 149 h 210"/>
              <a:gd name="T100" fmla="*/ 511 w 902"/>
              <a:gd name="T101" fmla="*/ 150 h 210"/>
              <a:gd name="T102" fmla="*/ 15 w 902"/>
              <a:gd name="T103" fmla="*/ 0 h 210"/>
              <a:gd name="T104" fmla="*/ 5 w 902"/>
              <a:gd name="T105" fmla="*/ 4 h 210"/>
              <a:gd name="T106" fmla="*/ 0 w 902"/>
              <a:gd name="T107" fmla="*/ 15 h 210"/>
              <a:gd name="T108" fmla="*/ 902 w 902"/>
              <a:gd name="T109" fmla="*/ 210 h 210"/>
              <a:gd name="T110" fmla="*/ 900 w 902"/>
              <a:gd name="T111" fmla="*/ 9 h 210"/>
              <a:gd name="T112" fmla="*/ 892 w 902"/>
              <a:gd name="T113" fmla="*/ 1 h 210"/>
              <a:gd name="T114" fmla="*/ 886 w 902"/>
              <a:gd name="T115" fmla="*/ 0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02" h="210">
                <a:moveTo>
                  <a:pt x="751" y="150"/>
                </a:moveTo>
                <a:lnTo>
                  <a:pt x="745" y="149"/>
                </a:lnTo>
                <a:lnTo>
                  <a:pt x="739" y="148"/>
                </a:lnTo>
                <a:lnTo>
                  <a:pt x="735" y="144"/>
                </a:lnTo>
                <a:lnTo>
                  <a:pt x="730" y="141"/>
                </a:lnTo>
                <a:lnTo>
                  <a:pt x="727" y="136"/>
                </a:lnTo>
                <a:lnTo>
                  <a:pt x="723" y="132"/>
                </a:lnTo>
                <a:lnTo>
                  <a:pt x="722" y="126"/>
                </a:lnTo>
                <a:lnTo>
                  <a:pt x="721" y="120"/>
                </a:lnTo>
                <a:lnTo>
                  <a:pt x="722" y="114"/>
                </a:lnTo>
                <a:lnTo>
                  <a:pt x="723" y="109"/>
                </a:lnTo>
                <a:lnTo>
                  <a:pt x="727" y="104"/>
                </a:lnTo>
                <a:lnTo>
                  <a:pt x="730" y="99"/>
                </a:lnTo>
                <a:lnTo>
                  <a:pt x="735" y="96"/>
                </a:lnTo>
                <a:lnTo>
                  <a:pt x="739" y="92"/>
                </a:lnTo>
                <a:lnTo>
                  <a:pt x="745" y="91"/>
                </a:lnTo>
                <a:lnTo>
                  <a:pt x="751" y="90"/>
                </a:lnTo>
                <a:lnTo>
                  <a:pt x="758" y="91"/>
                </a:lnTo>
                <a:lnTo>
                  <a:pt x="763" y="92"/>
                </a:lnTo>
                <a:lnTo>
                  <a:pt x="768" y="96"/>
                </a:lnTo>
                <a:lnTo>
                  <a:pt x="773" y="99"/>
                </a:lnTo>
                <a:lnTo>
                  <a:pt x="776" y="104"/>
                </a:lnTo>
                <a:lnTo>
                  <a:pt x="779" y="109"/>
                </a:lnTo>
                <a:lnTo>
                  <a:pt x="781" y="114"/>
                </a:lnTo>
                <a:lnTo>
                  <a:pt x="781" y="120"/>
                </a:lnTo>
                <a:lnTo>
                  <a:pt x="781" y="126"/>
                </a:lnTo>
                <a:lnTo>
                  <a:pt x="779" y="132"/>
                </a:lnTo>
                <a:lnTo>
                  <a:pt x="776" y="136"/>
                </a:lnTo>
                <a:lnTo>
                  <a:pt x="773" y="141"/>
                </a:lnTo>
                <a:lnTo>
                  <a:pt x="768" y="144"/>
                </a:lnTo>
                <a:lnTo>
                  <a:pt x="763" y="148"/>
                </a:lnTo>
                <a:lnTo>
                  <a:pt x="757" y="149"/>
                </a:lnTo>
                <a:lnTo>
                  <a:pt x="751" y="150"/>
                </a:lnTo>
                <a:lnTo>
                  <a:pt x="751" y="150"/>
                </a:lnTo>
                <a:close/>
                <a:moveTo>
                  <a:pt x="632" y="150"/>
                </a:moveTo>
                <a:lnTo>
                  <a:pt x="625" y="149"/>
                </a:lnTo>
                <a:lnTo>
                  <a:pt x="619" y="148"/>
                </a:lnTo>
                <a:lnTo>
                  <a:pt x="614" y="144"/>
                </a:lnTo>
                <a:lnTo>
                  <a:pt x="610" y="141"/>
                </a:lnTo>
                <a:lnTo>
                  <a:pt x="606" y="136"/>
                </a:lnTo>
                <a:lnTo>
                  <a:pt x="604" y="132"/>
                </a:lnTo>
                <a:lnTo>
                  <a:pt x="602" y="126"/>
                </a:lnTo>
                <a:lnTo>
                  <a:pt x="602" y="120"/>
                </a:lnTo>
                <a:lnTo>
                  <a:pt x="602" y="114"/>
                </a:lnTo>
                <a:lnTo>
                  <a:pt x="604" y="109"/>
                </a:lnTo>
                <a:lnTo>
                  <a:pt x="606" y="104"/>
                </a:lnTo>
                <a:lnTo>
                  <a:pt x="610" y="99"/>
                </a:lnTo>
                <a:lnTo>
                  <a:pt x="614" y="96"/>
                </a:lnTo>
                <a:lnTo>
                  <a:pt x="619" y="92"/>
                </a:lnTo>
                <a:lnTo>
                  <a:pt x="625" y="91"/>
                </a:lnTo>
                <a:lnTo>
                  <a:pt x="632" y="90"/>
                </a:lnTo>
                <a:lnTo>
                  <a:pt x="637" y="91"/>
                </a:lnTo>
                <a:lnTo>
                  <a:pt x="643" y="92"/>
                </a:lnTo>
                <a:lnTo>
                  <a:pt x="648" y="96"/>
                </a:lnTo>
                <a:lnTo>
                  <a:pt x="652" y="99"/>
                </a:lnTo>
                <a:lnTo>
                  <a:pt x="656" y="104"/>
                </a:lnTo>
                <a:lnTo>
                  <a:pt x="658" y="109"/>
                </a:lnTo>
                <a:lnTo>
                  <a:pt x="661" y="114"/>
                </a:lnTo>
                <a:lnTo>
                  <a:pt x="661" y="120"/>
                </a:lnTo>
                <a:lnTo>
                  <a:pt x="661" y="126"/>
                </a:lnTo>
                <a:lnTo>
                  <a:pt x="658" y="132"/>
                </a:lnTo>
                <a:lnTo>
                  <a:pt x="656" y="136"/>
                </a:lnTo>
                <a:lnTo>
                  <a:pt x="652" y="141"/>
                </a:lnTo>
                <a:lnTo>
                  <a:pt x="648" y="144"/>
                </a:lnTo>
                <a:lnTo>
                  <a:pt x="643" y="148"/>
                </a:lnTo>
                <a:lnTo>
                  <a:pt x="637" y="149"/>
                </a:lnTo>
                <a:lnTo>
                  <a:pt x="632" y="150"/>
                </a:lnTo>
                <a:lnTo>
                  <a:pt x="632" y="150"/>
                </a:lnTo>
                <a:close/>
                <a:moveTo>
                  <a:pt x="511" y="150"/>
                </a:moveTo>
                <a:lnTo>
                  <a:pt x="505" y="149"/>
                </a:lnTo>
                <a:lnTo>
                  <a:pt x="500" y="148"/>
                </a:lnTo>
                <a:lnTo>
                  <a:pt x="494" y="144"/>
                </a:lnTo>
                <a:lnTo>
                  <a:pt x="489" y="141"/>
                </a:lnTo>
                <a:lnTo>
                  <a:pt x="486" y="136"/>
                </a:lnTo>
                <a:lnTo>
                  <a:pt x="483" y="132"/>
                </a:lnTo>
                <a:lnTo>
                  <a:pt x="481" y="126"/>
                </a:lnTo>
                <a:lnTo>
                  <a:pt x="481" y="120"/>
                </a:lnTo>
                <a:lnTo>
                  <a:pt x="481" y="114"/>
                </a:lnTo>
                <a:lnTo>
                  <a:pt x="483" y="109"/>
                </a:lnTo>
                <a:lnTo>
                  <a:pt x="486" y="104"/>
                </a:lnTo>
                <a:lnTo>
                  <a:pt x="489" y="99"/>
                </a:lnTo>
                <a:lnTo>
                  <a:pt x="494" y="96"/>
                </a:lnTo>
                <a:lnTo>
                  <a:pt x="500" y="92"/>
                </a:lnTo>
                <a:lnTo>
                  <a:pt x="505" y="91"/>
                </a:lnTo>
                <a:lnTo>
                  <a:pt x="511" y="90"/>
                </a:lnTo>
                <a:lnTo>
                  <a:pt x="517" y="91"/>
                </a:lnTo>
                <a:lnTo>
                  <a:pt x="523" y="92"/>
                </a:lnTo>
                <a:lnTo>
                  <a:pt x="527" y="96"/>
                </a:lnTo>
                <a:lnTo>
                  <a:pt x="532" y="99"/>
                </a:lnTo>
                <a:lnTo>
                  <a:pt x="535" y="104"/>
                </a:lnTo>
                <a:lnTo>
                  <a:pt x="539" y="109"/>
                </a:lnTo>
                <a:lnTo>
                  <a:pt x="540" y="114"/>
                </a:lnTo>
                <a:lnTo>
                  <a:pt x="541" y="120"/>
                </a:lnTo>
                <a:lnTo>
                  <a:pt x="540" y="126"/>
                </a:lnTo>
                <a:lnTo>
                  <a:pt x="539" y="132"/>
                </a:lnTo>
                <a:lnTo>
                  <a:pt x="535" y="136"/>
                </a:lnTo>
                <a:lnTo>
                  <a:pt x="532" y="141"/>
                </a:lnTo>
                <a:lnTo>
                  <a:pt x="527" y="144"/>
                </a:lnTo>
                <a:lnTo>
                  <a:pt x="523" y="148"/>
                </a:lnTo>
                <a:lnTo>
                  <a:pt x="517" y="149"/>
                </a:lnTo>
                <a:lnTo>
                  <a:pt x="511" y="150"/>
                </a:lnTo>
                <a:lnTo>
                  <a:pt x="511" y="150"/>
                </a:lnTo>
                <a:close/>
                <a:moveTo>
                  <a:pt x="886" y="0"/>
                </a:moveTo>
                <a:lnTo>
                  <a:pt x="15" y="0"/>
                </a:lnTo>
                <a:lnTo>
                  <a:pt x="10" y="1"/>
                </a:lnTo>
                <a:lnTo>
                  <a:pt x="5" y="4"/>
                </a:lnTo>
                <a:lnTo>
                  <a:pt x="2" y="9"/>
                </a:lnTo>
                <a:lnTo>
                  <a:pt x="0" y="15"/>
                </a:lnTo>
                <a:lnTo>
                  <a:pt x="0" y="210"/>
                </a:lnTo>
                <a:lnTo>
                  <a:pt x="902" y="210"/>
                </a:lnTo>
                <a:lnTo>
                  <a:pt x="902" y="15"/>
                </a:lnTo>
                <a:lnTo>
                  <a:pt x="900" y="9"/>
                </a:lnTo>
                <a:lnTo>
                  <a:pt x="897" y="4"/>
                </a:lnTo>
                <a:lnTo>
                  <a:pt x="892" y="1"/>
                </a:lnTo>
                <a:lnTo>
                  <a:pt x="886" y="0"/>
                </a:lnTo>
                <a:lnTo>
                  <a:pt x="88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文字方塊 24"/>
          <p:cNvSpPr txBox="1"/>
          <p:nvPr/>
        </p:nvSpPr>
        <p:spPr>
          <a:xfrm>
            <a:off x="307975" y="1600200"/>
            <a:ext cx="4283817" cy="537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</a:t>
            </a:r>
            <a:r>
              <a:rPr lang="zh-TW" altLang="en-US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詳目頁其他功能</a:t>
            </a:r>
            <a:r>
              <a:rPr lang="en-US" altLang="zh-TW" sz="22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?</a:t>
            </a:r>
            <a:endParaRPr lang="en-US" altLang="zh-TW" sz="22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4" name="圖片 13"/>
          <p:cNvPicPr/>
          <p:nvPr/>
        </p:nvPicPr>
        <p:blipFill rotWithShape="1">
          <a:blip r:embed="rId3"/>
          <a:srcRect b="4191"/>
          <a:stretch/>
        </p:blipFill>
        <p:spPr>
          <a:xfrm>
            <a:off x="1219200" y="2550873"/>
            <a:ext cx="6324600" cy="3773727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0" name="矩形 29"/>
          <p:cNvSpPr/>
          <p:nvPr/>
        </p:nvSpPr>
        <p:spPr>
          <a:xfrm>
            <a:off x="3427021" y="5486399"/>
            <a:ext cx="2743200" cy="533401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5" name="矩形 14"/>
          <p:cNvSpPr/>
          <p:nvPr/>
        </p:nvSpPr>
        <p:spPr>
          <a:xfrm>
            <a:off x="5303284" y="1850168"/>
            <a:ext cx="3329127" cy="576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評分、收藏、至灰熊愛讀書購買紙本書、</a:t>
            </a:r>
            <a:r>
              <a:rPr lang="en-US" altLang="zh-TW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FB</a:t>
            </a:r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享</a:t>
            </a:r>
            <a:endParaRPr lang="zh-TW" altLang="en-US" sz="14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324600" y="5465098"/>
            <a:ext cx="2590800" cy="101190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可使用</a:t>
            </a:r>
            <a:r>
              <a:rPr lang="en-US" altLang="zh-TW" sz="1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copy</a:t>
            </a:r>
            <a:r>
              <a:rPr lang="zh-TW" altLang="en-US" sz="1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數</a:t>
            </a:r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不限制線</a:t>
            </a:r>
            <a:r>
              <a:rPr lang="zh-TW" altLang="en-US" sz="14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上、</a:t>
            </a:r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下載閱讀</a:t>
            </a:r>
            <a:endParaRPr lang="en-US" altLang="zh-TW" sz="14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sz="14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可借閱天數</a:t>
            </a:r>
            <a:endParaRPr lang="zh-TW" altLang="en-US" sz="14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4591792" y="2819400"/>
            <a:ext cx="1809008" cy="533401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542915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標題 2"/>
          <p:cNvSpPr>
            <a:spLocks noGrp="1"/>
          </p:cNvSpPr>
          <p:nvPr>
            <p:ph type="ctrTitle"/>
          </p:nvPr>
        </p:nvSpPr>
        <p:spPr>
          <a:xfrm>
            <a:off x="2346321" y="160338"/>
            <a:ext cx="5029200" cy="914400"/>
          </a:xfrm>
        </p:spPr>
        <p:txBody>
          <a:bodyPr>
            <a:normAutofit/>
          </a:bodyPr>
          <a:lstStyle/>
          <a:p>
            <a:pPr algn="l"/>
            <a:r>
              <a:rPr lang="zh-TW" altLang="en-US" sz="36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功能說明</a:t>
            </a:r>
            <a:endParaRPr lang="zh-TW" altLang="en-US" sz="32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>
              <a:solidFill>
                <a:prstClr val="black"/>
              </a:solidFill>
            </a:endParaRPr>
          </a:p>
        </p:txBody>
      </p:sp>
      <p:sp>
        <p:nvSpPr>
          <p:cNvPr id="12" name="文字方塊 11"/>
          <p:cNvSpPr txBox="1"/>
          <p:nvPr/>
        </p:nvSpPr>
        <p:spPr>
          <a:xfrm>
            <a:off x="576372" y="1737669"/>
            <a:ext cx="345479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4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</a:t>
            </a:r>
            <a:r>
              <a:rPr lang="zh-TW" altLang="en-US" sz="24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如何管理</a:t>
            </a:r>
            <a:r>
              <a:rPr lang="en-US" altLang="zh-TW" sz="24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riti</a:t>
            </a:r>
            <a:r>
              <a:rPr lang="zh-TW" altLang="en-US" sz="24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帳號</a:t>
            </a:r>
            <a:r>
              <a:rPr lang="en-US" altLang="zh-TW" sz="24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?</a:t>
            </a:r>
            <a:endParaRPr lang="en-US" altLang="zh-TW" sz="24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7" name="肘形接點 6"/>
          <p:cNvCxnSpPr/>
          <p:nvPr/>
        </p:nvCxnSpPr>
        <p:spPr>
          <a:xfrm>
            <a:off x="2667000" y="4648200"/>
            <a:ext cx="914400" cy="914400"/>
          </a:xfrm>
          <a:prstGeom prst="bentConnector3">
            <a:avLst>
              <a:gd name="adj1" fmla="val -1948"/>
            </a:avLst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" name="矩形 4"/>
          <p:cNvSpPr/>
          <p:nvPr/>
        </p:nvSpPr>
        <p:spPr>
          <a:xfrm>
            <a:off x="2438400" y="2834244"/>
            <a:ext cx="1579857" cy="152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TW" dirty="0" smtClean="0">
                <a:solidFill>
                  <a:schemeClr val="accent1"/>
                </a:solidFill>
              </a:rPr>
              <a:t>xxx</a:t>
            </a:r>
            <a:endParaRPr lang="zh-TW" altLang="en-US" dirty="0">
              <a:solidFill>
                <a:schemeClr val="accent1"/>
              </a:solidFill>
            </a:endParaRPr>
          </a:p>
        </p:txBody>
      </p:sp>
      <p:pic>
        <p:nvPicPr>
          <p:cNvPr id="1026" name="Picture 2" descr="https://i.gyazo.com/0ed8ba667400d930cdc315d8706952c9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633"/>
          <a:stretch/>
        </p:blipFill>
        <p:spPr bwMode="auto">
          <a:xfrm>
            <a:off x="4018257" y="2955075"/>
            <a:ext cx="4592343" cy="3662448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圖片 15"/>
          <p:cNvPicPr/>
          <p:nvPr/>
        </p:nvPicPr>
        <p:blipFill rotWithShape="1">
          <a:blip r:embed="rId3"/>
          <a:srcRect l="52213"/>
          <a:stretch/>
        </p:blipFill>
        <p:spPr>
          <a:xfrm>
            <a:off x="477198" y="2514600"/>
            <a:ext cx="3256602" cy="19002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矩形 16"/>
          <p:cNvSpPr/>
          <p:nvPr/>
        </p:nvSpPr>
        <p:spPr>
          <a:xfrm>
            <a:off x="4572000" y="1968500"/>
            <a:ext cx="3886200" cy="8657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TW" altLang="en-US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可至會員專區維護</a:t>
            </a:r>
            <a:r>
              <a:rPr lang="zh-TW" altLang="en-US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帳號與身分，</a:t>
            </a:r>
            <a:r>
              <a:rPr lang="zh-TW" altLang="en-US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變更密碼、頭像</a:t>
            </a:r>
            <a:r>
              <a:rPr lang="zh-TW" altLang="en-US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等。</a:t>
            </a:r>
            <a:endParaRPr lang="zh-TW" altLang="en-US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4419600" y="4519598"/>
            <a:ext cx="3884536" cy="1881202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9" name="Freeform 4776">
            <a:extLst>
              <a:ext uri="{FF2B5EF4-FFF2-40B4-BE49-F238E27FC236}">
                <a16:creationId xmlns="" xmlns:a16="http://schemas.microsoft.com/office/drawing/2014/main" id="{C8092ED1-DF13-4A88-9140-B942AF4CC42C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424036"/>
            <a:ext cx="396000" cy="72000"/>
          </a:xfrm>
          <a:custGeom>
            <a:avLst/>
            <a:gdLst>
              <a:gd name="T0" fmla="*/ 745 w 902"/>
              <a:gd name="T1" fmla="*/ 149 h 210"/>
              <a:gd name="T2" fmla="*/ 735 w 902"/>
              <a:gd name="T3" fmla="*/ 144 h 210"/>
              <a:gd name="T4" fmla="*/ 727 w 902"/>
              <a:gd name="T5" fmla="*/ 136 h 210"/>
              <a:gd name="T6" fmla="*/ 722 w 902"/>
              <a:gd name="T7" fmla="*/ 126 h 210"/>
              <a:gd name="T8" fmla="*/ 722 w 902"/>
              <a:gd name="T9" fmla="*/ 114 h 210"/>
              <a:gd name="T10" fmla="*/ 727 w 902"/>
              <a:gd name="T11" fmla="*/ 104 h 210"/>
              <a:gd name="T12" fmla="*/ 735 w 902"/>
              <a:gd name="T13" fmla="*/ 96 h 210"/>
              <a:gd name="T14" fmla="*/ 745 w 902"/>
              <a:gd name="T15" fmla="*/ 91 h 210"/>
              <a:gd name="T16" fmla="*/ 758 w 902"/>
              <a:gd name="T17" fmla="*/ 91 h 210"/>
              <a:gd name="T18" fmla="*/ 768 w 902"/>
              <a:gd name="T19" fmla="*/ 96 h 210"/>
              <a:gd name="T20" fmla="*/ 776 w 902"/>
              <a:gd name="T21" fmla="*/ 104 h 210"/>
              <a:gd name="T22" fmla="*/ 781 w 902"/>
              <a:gd name="T23" fmla="*/ 114 h 210"/>
              <a:gd name="T24" fmla="*/ 781 w 902"/>
              <a:gd name="T25" fmla="*/ 126 h 210"/>
              <a:gd name="T26" fmla="*/ 776 w 902"/>
              <a:gd name="T27" fmla="*/ 136 h 210"/>
              <a:gd name="T28" fmla="*/ 768 w 902"/>
              <a:gd name="T29" fmla="*/ 144 h 210"/>
              <a:gd name="T30" fmla="*/ 757 w 902"/>
              <a:gd name="T31" fmla="*/ 149 h 210"/>
              <a:gd name="T32" fmla="*/ 751 w 902"/>
              <a:gd name="T33" fmla="*/ 150 h 210"/>
              <a:gd name="T34" fmla="*/ 625 w 902"/>
              <a:gd name="T35" fmla="*/ 149 h 210"/>
              <a:gd name="T36" fmla="*/ 614 w 902"/>
              <a:gd name="T37" fmla="*/ 144 h 210"/>
              <a:gd name="T38" fmla="*/ 606 w 902"/>
              <a:gd name="T39" fmla="*/ 136 h 210"/>
              <a:gd name="T40" fmla="*/ 602 w 902"/>
              <a:gd name="T41" fmla="*/ 126 h 210"/>
              <a:gd name="T42" fmla="*/ 602 w 902"/>
              <a:gd name="T43" fmla="*/ 114 h 210"/>
              <a:gd name="T44" fmla="*/ 606 w 902"/>
              <a:gd name="T45" fmla="*/ 104 h 210"/>
              <a:gd name="T46" fmla="*/ 614 w 902"/>
              <a:gd name="T47" fmla="*/ 96 h 210"/>
              <a:gd name="T48" fmla="*/ 625 w 902"/>
              <a:gd name="T49" fmla="*/ 91 h 210"/>
              <a:gd name="T50" fmla="*/ 637 w 902"/>
              <a:gd name="T51" fmla="*/ 91 h 210"/>
              <a:gd name="T52" fmla="*/ 648 w 902"/>
              <a:gd name="T53" fmla="*/ 96 h 210"/>
              <a:gd name="T54" fmla="*/ 656 w 902"/>
              <a:gd name="T55" fmla="*/ 104 h 210"/>
              <a:gd name="T56" fmla="*/ 661 w 902"/>
              <a:gd name="T57" fmla="*/ 114 h 210"/>
              <a:gd name="T58" fmla="*/ 661 w 902"/>
              <a:gd name="T59" fmla="*/ 126 h 210"/>
              <a:gd name="T60" fmla="*/ 656 w 902"/>
              <a:gd name="T61" fmla="*/ 136 h 210"/>
              <a:gd name="T62" fmla="*/ 648 w 902"/>
              <a:gd name="T63" fmla="*/ 144 h 210"/>
              <a:gd name="T64" fmla="*/ 637 w 902"/>
              <a:gd name="T65" fmla="*/ 149 h 210"/>
              <a:gd name="T66" fmla="*/ 632 w 902"/>
              <a:gd name="T67" fmla="*/ 150 h 210"/>
              <a:gd name="T68" fmla="*/ 505 w 902"/>
              <a:gd name="T69" fmla="*/ 149 h 210"/>
              <a:gd name="T70" fmla="*/ 494 w 902"/>
              <a:gd name="T71" fmla="*/ 144 h 210"/>
              <a:gd name="T72" fmla="*/ 486 w 902"/>
              <a:gd name="T73" fmla="*/ 136 h 210"/>
              <a:gd name="T74" fmla="*/ 481 w 902"/>
              <a:gd name="T75" fmla="*/ 126 h 210"/>
              <a:gd name="T76" fmla="*/ 481 w 902"/>
              <a:gd name="T77" fmla="*/ 114 h 210"/>
              <a:gd name="T78" fmla="*/ 486 w 902"/>
              <a:gd name="T79" fmla="*/ 104 h 210"/>
              <a:gd name="T80" fmla="*/ 494 w 902"/>
              <a:gd name="T81" fmla="*/ 96 h 210"/>
              <a:gd name="T82" fmla="*/ 505 w 902"/>
              <a:gd name="T83" fmla="*/ 91 h 210"/>
              <a:gd name="T84" fmla="*/ 517 w 902"/>
              <a:gd name="T85" fmla="*/ 91 h 210"/>
              <a:gd name="T86" fmla="*/ 527 w 902"/>
              <a:gd name="T87" fmla="*/ 96 h 210"/>
              <a:gd name="T88" fmla="*/ 535 w 902"/>
              <a:gd name="T89" fmla="*/ 104 h 210"/>
              <a:gd name="T90" fmla="*/ 540 w 902"/>
              <a:gd name="T91" fmla="*/ 114 h 210"/>
              <a:gd name="T92" fmla="*/ 540 w 902"/>
              <a:gd name="T93" fmla="*/ 126 h 210"/>
              <a:gd name="T94" fmla="*/ 535 w 902"/>
              <a:gd name="T95" fmla="*/ 136 h 210"/>
              <a:gd name="T96" fmla="*/ 527 w 902"/>
              <a:gd name="T97" fmla="*/ 144 h 210"/>
              <a:gd name="T98" fmla="*/ 517 w 902"/>
              <a:gd name="T99" fmla="*/ 149 h 210"/>
              <a:gd name="T100" fmla="*/ 511 w 902"/>
              <a:gd name="T101" fmla="*/ 150 h 210"/>
              <a:gd name="T102" fmla="*/ 15 w 902"/>
              <a:gd name="T103" fmla="*/ 0 h 210"/>
              <a:gd name="T104" fmla="*/ 5 w 902"/>
              <a:gd name="T105" fmla="*/ 4 h 210"/>
              <a:gd name="T106" fmla="*/ 0 w 902"/>
              <a:gd name="T107" fmla="*/ 15 h 210"/>
              <a:gd name="T108" fmla="*/ 902 w 902"/>
              <a:gd name="T109" fmla="*/ 210 h 210"/>
              <a:gd name="T110" fmla="*/ 900 w 902"/>
              <a:gd name="T111" fmla="*/ 9 h 210"/>
              <a:gd name="T112" fmla="*/ 892 w 902"/>
              <a:gd name="T113" fmla="*/ 1 h 210"/>
              <a:gd name="T114" fmla="*/ 886 w 902"/>
              <a:gd name="T115" fmla="*/ 0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02" h="210">
                <a:moveTo>
                  <a:pt x="751" y="150"/>
                </a:moveTo>
                <a:lnTo>
                  <a:pt x="745" y="149"/>
                </a:lnTo>
                <a:lnTo>
                  <a:pt x="739" y="148"/>
                </a:lnTo>
                <a:lnTo>
                  <a:pt x="735" y="144"/>
                </a:lnTo>
                <a:lnTo>
                  <a:pt x="730" y="141"/>
                </a:lnTo>
                <a:lnTo>
                  <a:pt x="727" y="136"/>
                </a:lnTo>
                <a:lnTo>
                  <a:pt x="723" y="132"/>
                </a:lnTo>
                <a:lnTo>
                  <a:pt x="722" y="126"/>
                </a:lnTo>
                <a:lnTo>
                  <a:pt x="721" y="120"/>
                </a:lnTo>
                <a:lnTo>
                  <a:pt x="722" y="114"/>
                </a:lnTo>
                <a:lnTo>
                  <a:pt x="723" y="109"/>
                </a:lnTo>
                <a:lnTo>
                  <a:pt x="727" y="104"/>
                </a:lnTo>
                <a:lnTo>
                  <a:pt x="730" y="99"/>
                </a:lnTo>
                <a:lnTo>
                  <a:pt x="735" y="96"/>
                </a:lnTo>
                <a:lnTo>
                  <a:pt x="739" y="92"/>
                </a:lnTo>
                <a:lnTo>
                  <a:pt x="745" y="91"/>
                </a:lnTo>
                <a:lnTo>
                  <a:pt x="751" y="90"/>
                </a:lnTo>
                <a:lnTo>
                  <a:pt x="758" y="91"/>
                </a:lnTo>
                <a:lnTo>
                  <a:pt x="763" y="92"/>
                </a:lnTo>
                <a:lnTo>
                  <a:pt x="768" y="96"/>
                </a:lnTo>
                <a:lnTo>
                  <a:pt x="773" y="99"/>
                </a:lnTo>
                <a:lnTo>
                  <a:pt x="776" y="104"/>
                </a:lnTo>
                <a:lnTo>
                  <a:pt x="779" y="109"/>
                </a:lnTo>
                <a:lnTo>
                  <a:pt x="781" y="114"/>
                </a:lnTo>
                <a:lnTo>
                  <a:pt x="781" y="120"/>
                </a:lnTo>
                <a:lnTo>
                  <a:pt x="781" y="126"/>
                </a:lnTo>
                <a:lnTo>
                  <a:pt x="779" y="132"/>
                </a:lnTo>
                <a:lnTo>
                  <a:pt x="776" y="136"/>
                </a:lnTo>
                <a:lnTo>
                  <a:pt x="773" y="141"/>
                </a:lnTo>
                <a:lnTo>
                  <a:pt x="768" y="144"/>
                </a:lnTo>
                <a:lnTo>
                  <a:pt x="763" y="148"/>
                </a:lnTo>
                <a:lnTo>
                  <a:pt x="757" y="149"/>
                </a:lnTo>
                <a:lnTo>
                  <a:pt x="751" y="150"/>
                </a:lnTo>
                <a:lnTo>
                  <a:pt x="751" y="150"/>
                </a:lnTo>
                <a:close/>
                <a:moveTo>
                  <a:pt x="632" y="150"/>
                </a:moveTo>
                <a:lnTo>
                  <a:pt x="625" y="149"/>
                </a:lnTo>
                <a:lnTo>
                  <a:pt x="619" y="148"/>
                </a:lnTo>
                <a:lnTo>
                  <a:pt x="614" y="144"/>
                </a:lnTo>
                <a:lnTo>
                  <a:pt x="610" y="141"/>
                </a:lnTo>
                <a:lnTo>
                  <a:pt x="606" y="136"/>
                </a:lnTo>
                <a:lnTo>
                  <a:pt x="604" y="132"/>
                </a:lnTo>
                <a:lnTo>
                  <a:pt x="602" y="126"/>
                </a:lnTo>
                <a:lnTo>
                  <a:pt x="602" y="120"/>
                </a:lnTo>
                <a:lnTo>
                  <a:pt x="602" y="114"/>
                </a:lnTo>
                <a:lnTo>
                  <a:pt x="604" y="109"/>
                </a:lnTo>
                <a:lnTo>
                  <a:pt x="606" y="104"/>
                </a:lnTo>
                <a:lnTo>
                  <a:pt x="610" y="99"/>
                </a:lnTo>
                <a:lnTo>
                  <a:pt x="614" y="96"/>
                </a:lnTo>
                <a:lnTo>
                  <a:pt x="619" y="92"/>
                </a:lnTo>
                <a:lnTo>
                  <a:pt x="625" y="91"/>
                </a:lnTo>
                <a:lnTo>
                  <a:pt x="632" y="90"/>
                </a:lnTo>
                <a:lnTo>
                  <a:pt x="637" y="91"/>
                </a:lnTo>
                <a:lnTo>
                  <a:pt x="643" y="92"/>
                </a:lnTo>
                <a:lnTo>
                  <a:pt x="648" y="96"/>
                </a:lnTo>
                <a:lnTo>
                  <a:pt x="652" y="99"/>
                </a:lnTo>
                <a:lnTo>
                  <a:pt x="656" y="104"/>
                </a:lnTo>
                <a:lnTo>
                  <a:pt x="658" y="109"/>
                </a:lnTo>
                <a:lnTo>
                  <a:pt x="661" y="114"/>
                </a:lnTo>
                <a:lnTo>
                  <a:pt x="661" y="120"/>
                </a:lnTo>
                <a:lnTo>
                  <a:pt x="661" y="126"/>
                </a:lnTo>
                <a:lnTo>
                  <a:pt x="658" y="132"/>
                </a:lnTo>
                <a:lnTo>
                  <a:pt x="656" y="136"/>
                </a:lnTo>
                <a:lnTo>
                  <a:pt x="652" y="141"/>
                </a:lnTo>
                <a:lnTo>
                  <a:pt x="648" y="144"/>
                </a:lnTo>
                <a:lnTo>
                  <a:pt x="643" y="148"/>
                </a:lnTo>
                <a:lnTo>
                  <a:pt x="637" y="149"/>
                </a:lnTo>
                <a:lnTo>
                  <a:pt x="632" y="150"/>
                </a:lnTo>
                <a:lnTo>
                  <a:pt x="632" y="150"/>
                </a:lnTo>
                <a:close/>
                <a:moveTo>
                  <a:pt x="511" y="150"/>
                </a:moveTo>
                <a:lnTo>
                  <a:pt x="505" y="149"/>
                </a:lnTo>
                <a:lnTo>
                  <a:pt x="500" y="148"/>
                </a:lnTo>
                <a:lnTo>
                  <a:pt x="494" y="144"/>
                </a:lnTo>
                <a:lnTo>
                  <a:pt x="489" y="141"/>
                </a:lnTo>
                <a:lnTo>
                  <a:pt x="486" y="136"/>
                </a:lnTo>
                <a:lnTo>
                  <a:pt x="483" y="132"/>
                </a:lnTo>
                <a:lnTo>
                  <a:pt x="481" y="126"/>
                </a:lnTo>
                <a:lnTo>
                  <a:pt x="481" y="120"/>
                </a:lnTo>
                <a:lnTo>
                  <a:pt x="481" y="114"/>
                </a:lnTo>
                <a:lnTo>
                  <a:pt x="483" y="109"/>
                </a:lnTo>
                <a:lnTo>
                  <a:pt x="486" y="104"/>
                </a:lnTo>
                <a:lnTo>
                  <a:pt x="489" y="99"/>
                </a:lnTo>
                <a:lnTo>
                  <a:pt x="494" y="96"/>
                </a:lnTo>
                <a:lnTo>
                  <a:pt x="500" y="92"/>
                </a:lnTo>
                <a:lnTo>
                  <a:pt x="505" y="91"/>
                </a:lnTo>
                <a:lnTo>
                  <a:pt x="511" y="90"/>
                </a:lnTo>
                <a:lnTo>
                  <a:pt x="517" y="91"/>
                </a:lnTo>
                <a:lnTo>
                  <a:pt x="523" y="92"/>
                </a:lnTo>
                <a:lnTo>
                  <a:pt x="527" y="96"/>
                </a:lnTo>
                <a:lnTo>
                  <a:pt x="532" y="99"/>
                </a:lnTo>
                <a:lnTo>
                  <a:pt x="535" y="104"/>
                </a:lnTo>
                <a:lnTo>
                  <a:pt x="539" y="109"/>
                </a:lnTo>
                <a:lnTo>
                  <a:pt x="540" y="114"/>
                </a:lnTo>
                <a:lnTo>
                  <a:pt x="541" y="120"/>
                </a:lnTo>
                <a:lnTo>
                  <a:pt x="540" y="126"/>
                </a:lnTo>
                <a:lnTo>
                  <a:pt x="539" y="132"/>
                </a:lnTo>
                <a:lnTo>
                  <a:pt x="535" y="136"/>
                </a:lnTo>
                <a:lnTo>
                  <a:pt x="532" y="141"/>
                </a:lnTo>
                <a:lnTo>
                  <a:pt x="527" y="144"/>
                </a:lnTo>
                <a:lnTo>
                  <a:pt x="523" y="148"/>
                </a:lnTo>
                <a:lnTo>
                  <a:pt x="517" y="149"/>
                </a:lnTo>
                <a:lnTo>
                  <a:pt x="511" y="150"/>
                </a:lnTo>
                <a:lnTo>
                  <a:pt x="511" y="150"/>
                </a:lnTo>
                <a:close/>
                <a:moveTo>
                  <a:pt x="886" y="0"/>
                </a:moveTo>
                <a:lnTo>
                  <a:pt x="15" y="0"/>
                </a:lnTo>
                <a:lnTo>
                  <a:pt x="10" y="1"/>
                </a:lnTo>
                <a:lnTo>
                  <a:pt x="5" y="4"/>
                </a:lnTo>
                <a:lnTo>
                  <a:pt x="2" y="9"/>
                </a:lnTo>
                <a:lnTo>
                  <a:pt x="0" y="15"/>
                </a:lnTo>
                <a:lnTo>
                  <a:pt x="0" y="210"/>
                </a:lnTo>
                <a:lnTo>
                  <a:pt x="902" y="210"/>
                </a:lnTo>
                <a:lnTo>
                  <a:pt x="902" y="15"/>
                </a:lnTo>
                <a:lnTo>
                  <a:pt x="900" y="9"/>
                </a:lnTo>
                <a:lnTo>
                  <a:pt x="897" y="4"/>
                </a:lnTo>
                <a:lnTo>
                  <a:pt x="892" y="1"/>
                </a:lnTo>
                <a:lnTo>
                  <a:pt x="886" y="0"/>
                </a:lnTo>
                <a:lnTo>
                  <a:pt x="88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4777">
            <a:extLst>
              <a:ext uri="{FF2B5EF4-FFF2-40B4-BE49-F238E27FC236}">
                <a16:creationId xmlns="" xmlns:a16="http://schemas.microsoft.com/office/drawing/2014/main" id="{8C2F6FD5-B324-40F5-B07F-DCC3F9F9DA63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536856"/>
            <a:ext cx="396000" cy="288000"/>
          </a:xfrm>
          <a:custGeom>
            <a:avLst/>
            <a:gdLst>
              <a:gd name="T0" fmla="*/ 216 w 902"/>
              <a:gd name="T1" fmla="*/ 331 h 510"/>
              <a:gd name="T2" fmla="*/ 225 w 902"/>
              <a:gd name="T3" fmla="*/ 345 h 510"/>
              <a:gd name="T4" fmla="*/ 216 w 902"/>
              <a:gd name="T5" fmla="*/ 359 h 510"/>
              <a:gd name="T6" fmla="*/ 145 w 902"/>
              <a:gd name="T7" fmla="*/ 359 h 510"/>
              <a:gd name="T8" fmla="*/ 136 w 902"/>
              <a:gd name="T9" fmla="*/ 345 h 510"/>
              <a:gd name="T10" fmla="*/ 145 w 902"/>
              <a:gd name="T11" fmla="*/ 331 h 510"/>
              <a:gd name="T12" fmla="*/ 151 w 902"/>
              <a:gd name="T13" fmla="*/ 209 h 510"/>
              <a:gd name="T14" fmla="*/ 222 w 902"/>
              <a:gd name="T15" fmla="*/ 214 h 510"/>
              <a:gd name="T16" fmla="*/ 224 w 902"/>
              <a:gd name="T17" fmla="*/ 230 h 510"/>
              <a:gd name="T18" fmla="*/ 210 w 902"/>
              <a:gd name="T19" fmla="*/ 239 h 510"/>
              <a:gd name="T20" fmla="*/ 139 w 902"/>
              <a:gd name="T21" fmla="*/ 235 h 510"/>
              <a:gd name="T22" fmla="*/ 137 w 902"/>
              <a:gd name="T23" fmla="*/ 218 h 510"/>
              <a:gd name="T24" fmla="*/ 151 w 902"/>
              <a:gd name="T25" fmla="*/ 209 h 510"/>
              <a:gd name="T26" fmla="*/ 210 w 902"/>
              <a:gd name="T27" fmla="*/ 90 h 510"/>
              <a:gd name="T28" fmla="*/ 224 w 902"/>
              <a:gd name="T29" fmla="*/ 99 h 510"/>
              <a:gd name="T30" fmla="*/ 222 w 902"/>
              <a:gd name="T31" fmla="*/ 115 h 510"/>
              <a:gd name="T32" fmla="*/ 151 w 902"/>
              <a:gd name="T33" fmla="*/ 119 h 510"/>
              <a:gd name="T34" fmla="*/ 137 w 902"/>
              <a:gd name="T35" fmla="*/ 111 h 510"/>
              <a:gd name="T36" fmla="*/ 139 w 902"/>
              <a:gd name="T37" fmla="*/ 93 h 510"/>
              <a:gd name="T38" fmla="*/ 330 w 902"/>
              <a:gd name="T39" fmla="*/ 330 h 510"/>
              <a:gd name="T40" fmla="*/ 732 w 902"/>
              <a:gd name="T41" fmla="*/ 334 h 510"/>
              <a:gd name="T42" fmla="*/ 735 w 902"/>
              <a:gd name="T43" fmla="*/ 350 h 510"/>
              <a:gd name="T44" fmla="*/ 721 w 902"/>
              <a:gd name="T45" fmla="*/ 360 h 510"/>
              <a:gd name="T46" fmla="*/ 320 w 902"/>
              <a:gd name="T47" fmla="*/ 355 h 510"/>
              <a:gd name="T48" fmla="*/ 317 w 902"/>
              <a:gd name="T49" fmla="*/ 339 h 510"/>
              <a:gd name="T50" fmla="*/ 330 w 902"/>
              <a:gd name="T51" fmla="*/ 330 h 510"/>
              <a:gd name="T52" fmla="*/ 721 w 902"/>
              <a:gd name="T53" fmla="*/ 209 h 510"/>
              <a:gd name="T54" fmla="*/ 735 w 902"/>
              <a:gd name="T55" fmla="*/ 218 h 510"/>
              <a:gd name="T56" fmla="*/ 732 w 902"/>
              <a:gd name="T57" fmla="*/ 235 h 510"/>
              <a:gd name="T58" fmla="*/ 330 w 902"/>
              <a:gd name="T59" fmla="*/ 239 h 510"/>
              <a:gd name="T60" fmla="*/ 317 w 902"/>
              <a:gd name="T61" fmla="*/ 230 h 510"/>
              <a:gd name="T62" fmla="*/ 320 w 902"/>
              <a:gd name="T63" fmla="*/ 214 h 510"/>
              <a:gd name="T64" fmla="*/ 330 w 902"/>
              <a:gd name="T65" fmla="*/ 209 h 510"/>
              <a:gd name="T66" fmla="*/ 727 w 902"/>
              <a:gd name="T67" fmla="*/ 91 h 510"/>
              <a:gd name="T68" fmla="*/ 736 w 902"/>
              <a:gd name="T69" fmla="*/ 105 h 510"/>
              <a:gd name="T70" fmla="*/ 727 w 902"/>
              <a:gd name="T71" fmla="*/ 118 h 510"/>
              <a:gd name="T72" fmla="*/ 325 w 902"/>
              <a:gd name="T73" fmla="*/ 118 h 510"/>
              <a:gd name="T74" fmla="*/ 315 w 902"/>
              <a:gd name="T75" fmla="*/ 105 h 510"/>
              <a:gd name="T76" fmla="*/ 325 w 902"/>
              <a:gd name="T77" fmla="*/ 91 h 510"/>
              <a:gd name="T78" fmla="*/ 2 w 902"/>
              <a:gd name="T79" fmla="*/ 501 h 510"/>
              <a:gd name="T80" fmla="*/ 15 w 902"/>
              <a:gd name="T81" fmla="*/ 510 h 510"/>
              <a:gd name="T82" fmla="*/ 897 w 902"/>
              <a:gd name="T83" fmla="*/ 506 h 510"/>
              <a:gd name="T84" fmla="*/ 902 w 902"/>
              <a:gd name="T85" fmla="*/ 0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02" h="510">
                <a:moveTo>
                  <a:pt x="151" y="330"/>
                </a:moveTo>
                <a:lnTo>
                  <a:pt x="210" y="330"/>
                </a:lnTo>
                <a:lnTo>
                  <a:pt x="216" y="331"/>
                </a:lnTo>
                <a:lnTo>
                  <a:pt x="222" y="334"/>
                </a:lnTo>
                <a:lnTo>
                  <a:pt x="224" y="339"/>
                </a:lnTo>
                <a:lnTo>
                  <a:pt x="225" y="345"/>
                </a:lnTo>
                <a:lnTo>
                  <a:pt x="224" y="350"/>
                </a:lnTo>
                <a:lnTo>
                  <a:pt x="222" y="355"/>
                </a:lnTo>
                <a:lnTo>
                  <a:pt x="216" y="359"/>
                </a:lnTo>
                <a:lnTo>
                  <a:pt x="210" y="360"/>
                </a:lnTo>
                <a:lnTo>
                  <a:pt x="151" y="360"/>
                </a:lnTo>
                <a:lnTo>
                  <a:pt x="145" y="359"/>
                </a:lnTo>
                <a:lnTo>
                  <a:pt x="139" y="355"/>
                </a:lnTo>
                <a:lnTo>
                  <a:pt x="137" y="350"/>
                </a:lnTo>
                <a:lnTo>
                  <a:pt x="136" y="345"/>
                </a:lnTo>
                <a:lnTo>
                  <a:pt x="137" y="339"/>
                </a:lnTo>
                <a:lnTo>
                  <a:pt x="139" y="334"/>
                </a:lnTo>
                <a:lnTo>
                  <a:pt x="145" y="331"/>
                </a:lnTo>
                <a:lnTo>
                  <a:pt x="151" y="330"/>
                </a:lnTo>
                <a:lnTo>
                  <a:pt x="151" y="330"/>
                </a:lnTo>
                <a:close/>
                <a:moveTo>
                  <a:pt x="151" y="209"/>
                </a:moveTo>
                <a:lnTo>
                  <a:pt x="210" y="209"/>
                </a:lnTo>
                <a:lnTo>
                  <a:pt x="216" y="210"/>
                </a:lnTo>
                <a:lnTo>
                  <a:pt x="222" y="214"/>
                </a:lnTo>
                <a:lnTo>
                  <a:pt x="224" y="218"/>
                </a:lnTo>
                <a:lnTo>
                  <a:pt x="225" y="224"/>
                </a:lnTo>
                <a:lnTo>
                  <a:pt x="224" y="230"/>
                </a:lnTo>
                <a:lnTo>
                  <a:pt x="222" y="235"/>
                </a:lnTo>
                <a:lnTo>
                  <a:pt x="216" y="238"/>
                </a:lnTo>
                <a:lnTo>
                  <a:pt x="210" y="239"/>
                </a:lnTo>
                <a:lnTo>
                  <a:pt x="151" y="239"/>
                </a:lnTo>
                <a:lnTo>
                  <a:pt x="145" y="238"/>
                </a:lnTo>
                <a:lnTo>
                  <a:pt x="139" y="235"/>
                </a:lnTo>
                <a:lnTo>
                  <a:pt x="137" y="230"/>
                </a:lnTo>
                <a:lnTo>
                  <a:pt x="136" y="224"/>
                </a:lnTo>
                <a:lnTo>
                  <a:pt x="137" y="218"/>
                </a:lnTo>
                <a:lnTo>
                  <a:pt x="139" y="214"/>
                </a:lnTo>
                <a:lnTo>
                  <a:pt x="145" y="210"/>
                </a:lnTo>
                <a:lnTo>
                  <a:pt x="151" y="209"/>
                </a:lnTo>
                <a:lnTo>
                  <a:pt x="151" y="209"/>
                </a:lnTo>
                <a:close/>
                <a:moveTo>
                  <a:pt x="151" y="90"/>
                </a:moveTo>
                <a:lnTo>
                  <a:pt x="210" y="90"/>
                </a:lnTo>
                <a:lnTo>
                  <a:pt x="216" y="91"/>
                </a:lnTo>
                <a:lnTo>
                  <a:pt x="222" y="93"/>
                </a:lnTo>
                <a:lnTo>
                  <a:pt x="224" y="99"/>
                </a:lnTo>
                <a:lnTo>
                  <a:pt x="225" y="105"/>
                </a:lnTo>
                <a:lnTo>
                  <a:pt x="224" y="111"/>
                </a:lnTo>
                <a:lnTo>
                  <a:pt x="222" y="115"/>
                </a:lnTo>
                <a:lnTo>
                  <a:pt x="216" y="118"/>
                </a:lnTo>
                <a:lnTo>
                  <a:pt x="210" y="120"/>
                </a:lnTo>
                <a:lnTo>
                  <a:pt x="151" y="119"/>
                </a:lnTo>
                <a:lnTo>
                  <a:pt x="145" y="118"/>
                </a:lnTo>
                <a:lnTo>
                  <a:pt x="139" y="115"/>
                </a:lnTo>
                <a:lnTo>
                  <a:pt x="137" y="111"/>
                </a:lnTo>
                <a:lnTo>
                  <a:pt x="136" y="105"/>
                </a:lnTo>
                <a:lnTo>
                  <a:pt x="137" y="99"/>
                </a:lnTo>
                <a:lnTo>
                  <a:pt x="139" y="93"/>
                </a:lnTo>
                <a:lnTo>
                  <a:pt x="145" y="91"/>
                </a:lnTo>
                <a:lnTo>
                  <a:pt x="151" y="90"/>
                </a:lnTo>
                <a:close/>
                <a:moveTo>
                  <a:pt x="330" y="330"/>
                </a:moveTo>
                <a:lnTo>
                  <a:pt x="721" y="330"/>
                </a:lnTo>
                <a:lnTo>
                  <a:pt x="727" y="331"/>
                </a:lnTo>
                <a:lnTo>
                  <a:pt x="732" y="334"/>
                </a:lnTo>
                <a:lnTo>
                  <a:pt x="735" y="339"/>
                </a:lnTo>
                <a:lnTo>
                  <a:pt x="736" y="345"/>
                </a:lnTo>
                <a:lnTo>
                  <a:pt x="735" y="350"/>
                </a:lnTo>
                <a:lnTo>
                  <a:pt x="732" y="355"/>
                </a:lnTo>
                <a:lnTo>
                  <a:pt x="727" y="359"/>
                </a:lnTo>
                <a:lnTo>
                  <a:pt x="721" y="360"/>
                </a:lnTo>
                <a:lnTo>
                  <a:pt x="330" y="360"/>
                </a:lnTo>
                <a:lnTo>
                  <a:pt x="325" y="359"/>
                </a:lnTo>
                <a:lnTo>
                  <a:pt x="320" y="355"/>
                </a:lnTo>
                <a:lnTo>
                  <a:pt x="317" y="350"/>
                </a:lnTo>
                <a:lnTo>
                  <a:pt x="315" y="345"/>
                </a:lnTo>
                <a:lnTo>
                  <a:pt x="317" y="339"/>
                </a:lnTo>
                <a:lnTo>
                  <a:pt x="320" y="334"/>
                </a:lnTo>
                <a:lnTo>
                  <a:pt x="325" y="331"/>
                </a:lnTo>
                <a:lnTo>
                  <a:pt x="330" y="330"/>
                </a:lnTo>
                <a:lnTo>
                  <a:pt x="330" y="330"/>
                </a:lnTo>
                <a:close/>
                <a:moveTo>
                  <a:pt x="330" y="209"/>
                </a:moveTo>
                <a:lnTo>
                  <a:pt x="721" y="209"/>
                </a:lnTo>
                <a:lnTo>
                  <a:pt x="727" y="210"/>
                </a:lnTo>
                <a:lnTo>
                  <a:pt x="732" y="214"/>
                </a:lnTo>
                <a:lnTo>
                  <a:pt x="735" y="218"/>
                </a:lnTo>
                <a:lnTo>
                  <a:pt x="736" y="224"/>
                </a:lnTo>
                <a:lnTo>
                  <a:pt x="735" y="230"/>
                </a:lnTo>
                <a:lnTo>
                  <a:pt x="732" y="235"/>
                </a:lnTo>
                <a:lnTo>
                  <a:pt x="727" y="238"/>
                </a:lnTo>
                <a:lnTo>
                  <a:pt x="721" y="239"/>
                </a:lnTo>
                <a:lnTo>
                  <a:pt x="330" y="239"/>
                </a:lnTo>
                <a:lnTo>
                  <a:pt x="325" y="238"/>
                </a:lnTo>
                <a:lnTo>
                  <a:pt x="320" y="235"/>
                </a:lnTo>
                <a:lnTo>
                  <a:pt x="317" y="230"/>
                </a:lnTo>
                <a:lnTo>
                  <a:pt x="315" y="224"/>
                </a:lnTo>
                <a:lnTo>
                  <a:pt x="317" y="218"/>
                </a:lnTo>
                <a:lnTo>
                  <a:pt x="320" y="214"/>
                </a:lnTo>
                <a:lnTo>
                  <a:pt x="325" y="210"/>
                </a:lnTo>
                <a:lnTo>
                  <a:pt x="330" y="209"/>
                </a:lnTo>
                <a:lnTo>
                  <a:pt x="330" y="209"/>
                </a:lnTo>
                <a:close/>
                <a:moveTo>
                  <a:pt x="330" y="90"/>
                </a:moveTo>
                <a:lnTo>
                  <a:pt x="721" y="90"/>
                </a:lnTo>
                <a:lnTo>
                  <a:pt x="727" y="91"/>
                </a:lnTo>
                <a:lnTo>
                  <a:pt x="732" y="93"/>
                </a:lnTo>
                <a:lnTo>
                  <a:pt x="735" y="99"/>
                </a:lnTo>
                <a:lnTo>
                  <a:pt x="736" y="105"/>
                </a:lnTo>
                <a:lnTo>
                  <a:pt x="735" y="111"/>
                </a:lnTo>
                <a:lnTo>
                  <a:pt x="732" y="115"/>
                </a:lnTo>
                <a:lnTo>
                  <a:pt x="727" y="118"/>
                </a:lnTo>
                <a:lnTo>
                  <a:pt x="721" y="120"/>
                </a:lnTo>
                <a:lnTo>
                  <a:pt x="330" y="119"/>
                </a:lnTo>
                <a:lnTo>
                  <a:pt x="325" y="118"/>
                </a:lnTo>
                <a:lnTo>
                  <a:pt x="320" y="115"/>
                </a:lnTo>
                <a:lnTo>
                  <a:pt x="317" y="111"/>
                </a:lnTo>
                <a:lnTo>
                  <a:pt x="315" y="105"/>
                </a:lnTo>
                <a:lnTo>
                  <a:pt x="317" y="99"/>
                </a:lnTo>
                <a:lnTo>
                  <a:pt x="320" y="93"/>
                </a:lnTo>
                <a:lnTo>
                  <a:pt x="325" y="91"/>
                </a:lnTo>
                <a:lnTo>
                  <a:pt x="330" y="90"/>
                </a:lnTo>
                <a:close/>
                <a:moveTo>
                  <a:pt x="0" y="495"/>
                </a:moveTo>
                <a:lnTo>
                  <a:pt x="2" y="501"/>
                </a:lnTo>
                <a:lnTo>
                  <a:pt x="5" y="506"/>
                </a:lnTo>
                <a:lnTo>
                  <a:pt x="10" y="509"/>
                </a:lnTo>
                <a:lnTo>
                  <a:pt x="15" y="510"/>
                </a:lnTo>
                <a:lnTo>
                  <a:pt x="886" y="510"/>
                </a:lnTo>
                <a:lnTo>
                  <a:pt x="892" y="509"/>
                </a:lnTo>
                <a:lnTo>
                  <a:pt x="897" y="506"/>
                </a:lnTo>
                <a:lnTo>
                  <a:pt x="900" y="501"/>
                </a:lnTo>
                <a:lnTo>
                  <a:pt x="902" y="495"/>
                </a:lnTo>
                <a:lnTo>
                  <a:pt x="902" y="0"/>
                </a:lnTo>
                <a:lnTo>
                  <a:pt x="0" y="0"/>
                </a:lnTo>
                <a:lnTo>
                  <a:pt x="0" y="4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20477433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標題 2"/>
          <p:cNvSpPr>
            <a:spLocks noGrp="1"/>
          </p:cNvSpPr>
          <p:nvPr>
            <p:ph type="ctrTitle"/>
          </p:nvPr>
        </p:nvSpPr>
        <p:spPr>
          <a:xfrm>
            <a:off x="2346321" y="160338"/>
            <a:ext cx="5029200" cy="914400"/>
          </a:xfrm>
        </p:spPr>
        <p:txBody>
          <a:bodyPr>
            <a:normAutofit/>
          </a:bodyPr>
          <a:lstStyle/>
          <a:p>
            <a:pPr algn="l"/>
            <a:r>
              <a:rPr lang="zh-TW" altLang="en-US" sz="36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功能說明</a:t>
            </a:r>
            <a:endParaRPr lang="zh-TW" altLang="en-US" sz="32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>
              <a:solidFill>
                <a:prstClr val="black"/>
              </a:solidFill>
            </a:endParaRPr>
          </a:p>
        </p:txBody>
      </p:sp>
      <p:sp>
        <p:nvSpPr>
          <p:cNvPr id="12" name="文字方塊 11"/>
          <p:cNvSpPr txBox="1"/>
          <p:nvPr/>
        </p:nvSpPr>
        <p:spPr>
          <a:xfrm>
            <a:off x="398030" y="1506835"/>
            <a:ext cx="42771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4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</a:t>
            </a:r>
            <a:r>
              <a:rPr lang="zh-TW" altLang="en-US" sz="24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如何</a:t>
            </a:r>
            <a:r>
              <a:rPr lang="zh-TW" altLang="en-US" sz="24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設定第三方帳號連結</a:t>
            </a:r>
            <a:r>
              <a:rPr lang="en-US" altLang="zh-TW" sz="24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?</a:t>
            </a:r>
            <a:endParaRPr lang="en-US" altLang="zh-TW" sz="24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9" name="Freeform 4776">
            <a:extLst>
              <a:ext uri="{FF2B5EF4-FFF2-40B4-BE49-F238E27FC236}">
                <a16:creationId xmlns="" xmlns:a16="http://schemas.microsoft.com/office/drawing/2014/main" id="{C8092ED1-DF13-4A88-9140-B942AF4CC42C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424036"/>
            <a:ext cx="396000" cy="72000"/>
          </a:xfrm>
          <a:custGeom>
            <a:avLst/>
            <a:gdLst>
              <a:gd name="T0" fmla="*/ 745 w 902"/>
              <a:gd name="T1" fmla="*/ 149 h 210"/>
              <a:gd name="T2" fmla="*/ 735 w 902"/>
              <a:gd name="T3" fmla="*/ 144 h 210"/>
              <a:gd name="T4" fmla="*/ 727 w 902"/>
              <a:gd name="T5" fmla="*/ 136 h 210"/>
              <a:gd name="T6" fmla="*/ 722 w 902"/>
              <a:gd name="T7" fmla="*/ 126 h 210"/>
              <a:gd name="T8" fmla="*/ 722 w 902"/>
              <a:gd name="T9" fmla="*/ 114 h 210"/>
              <a:gd name="T10" fmla="*/ 727 w 902"/>
              <a:gd name="T11" fmla="*/ 104 h 210"/>
              <a:gd name="T12" fmla="*/ 735 w 902"/>
              <a:gd name="T13" fmla="*/ 96 h 210"/>
              <a:gd name="T14" fmla="*/ 745 w 902"/>
              <a:gd name="T15" fmla="*/ 91 h 210"/>
              <a:gd name="T16" fmla="*/ 758 w 902"/>
              <a:gd name="T17" fmla="*/ 91 h 210"/>
              <a:gd name="T18" fmla="*/ 768 w 902"/>
              <a:gd name="T19" fmla="*/ 96 h 210"/>
              <a:gd name="T20" fmla="*/ 776 w 902"/>
              <a:gd name="T21" fmla="*/ 104 h 210"/>
              <a:gd name="T22" fmla="*/ 781 w 902"/>
              <a:gd name="T23" fmla="*/ 114 h 210"/>
              <a:gd name="T24" fmla="*/ 781 w 902"/>
              <a:gd name="T25" fmla="*/ 126 h 210"/>
              <a:gd name="T26" fmla="*/ 776 w 902"/>
              <a:gd name="T27" fmla="*/ 136 h 210"/>
              <a:gd name="T28" fmla="*/ 768 w 902"/>
              <a:gd name="T29" fmla="*/ 144 h 210"/>
              <a:gd name="T30" fmla="*/ 757 w 902"/>
              <a:gd name="T31" fmla="*/ 149 h 210"/>
              <a:gd name="T32" fmla="*/ 751 w 902"/>
              <a:gd name="T33" fmla="*/ 150 h 210"/>
              <a:gd name="T34" fmla="*/ 625 w 902"/>
              <a:gd name="T35" fmla="*/ 149 h 210"/>
              <a:gd name="T36" fmla="*/ 614 w 902"/>
              <a:gd name="T37" fmla="*/ 144 h 210"/>
              <a:gd name="T38" fmla="*/ 606 w 902"/>
              <a:gd name="T39" fmla="*/ 136 h 210"/>
              <a:gd name="T40" fmla="*/ 602 w 902"/>
              <a:gd name="T41" fmla="*/ 126 h 210"/>
              <a:gd name="T42" fmla="*/ 602 w 902"/>
              <a:gd name="T43" fmla="*/ 114 h 210"/>
              <a:gd name="T44" fmla="*/ 606 w 902"/>
              <a:gd name="T45" fmla="*/ 104 h 210"/>
              <a:gd name="T46" fmla="*/ 614 w 902"/>
              <a:gd name="T47" fmla="*/ 96 h 210"/>
              <a:gd name="T48" fmla="*/ 625 w 902"/>
              <a:gd name="T49" fmla="*/ 91 h 210"/>
              <a:gd name="T50" fmla="*/ 637 w 902"/>
              <a:gd name="T51" fmla="*/ 91 h 210"/>
              <a:gd name="T52" fmla="*/ 648 w 902"/>
              <a:gd name="T53" fmla="*/ 96 h 210"/>
              <a:gd name="T54" fmla="*/ 656 w 902"/>
              <a:gd name="T55" fmla="*/ 104 h 210"/>
              <a:gd name="T56" fmla="*/ 661 w 902"/>
              <a:gd name="T57" fmla="*/ 114 h 210"/>
              <a:gd name="T58" fmla="*/ 661 w 902"/>
              <a:gd name="T59" fmla="*/ 126 h 210"/>
              <a:gd name="T60" fmla="*/ 656 w 902"/>
              <a:gd name="T61" fmla="*/ 136 h 210"/>
              <a:gd name="T62" fmla="*/ 648 w 902"/>
              <a:gd name="T63" fmla="*/ 144 h 210"/>
              <a:gd name="T64" fmla="*/ 637 w 902"/>
              <a:gd name="T65" fmla="*/ 149 h 210"/>
              <a:gd name="T66" fmla="*/ 632 w 902"/>
              <a:gd name="T67" fmla="*/ 150 h 210"/>
              <a:gd name="T68" fmla="*/ 505 w 902"/>
              <a:gd name="T69" fmla="*/ 149 h 210"/>
              <a:gd name="T70" fmla="*/ 494 w 902"/>
              <a:gd name="T71" fmla="*/ 144 h 210"/>
              <a:gd name="T72" fmla="*/ 486 w 902"/>
              <a:gd name="T73" fmla="*/ 136 h 210"/>
              <a:gd name="T74" fmla="*/ 481 w 902"/>
              <a:gd name="T75" fmla="*/ 126 h 210"/>
              <a:gd name="T76" fmla="*/ 481 w 902"/>
              <a:gd name="T77" fmla="*/ 114 h 210"/>
              <a:gd name="T78" fmla="*/ 486 w 902"/>
              <a:gd name="T79" fmla="*/ 104 h 210"/>
              <a:gd name="T80" fmla="*/ 494 w 902"/>
              <a:gd name="T81" fmla="*/ 96 h 210"/>
              <a:gd name="T82" fmla="*/ 505 w 902"/>
              <a:gd name="T83" fmla="*/ 91 h 210"/>
              <a:gd name="T84" fmla="*/ 517 w 902"/>
              <a:gd name="T85" fmla="*/ 91 h 210"/>
              <a:gd name="T86" fmla="*/ 527 w 902"/>
              <a:gd name="T87" fmla="*/ 96 h 210"/>
              <a:gd name="T88" fmla="*/ 535 w 902"/>
              <a:gd name="T89" fmla="*/ 104 h 210"/>
              <a:gd name="T90" fmla="*/ 540 w 902"/>
              <a:gd name="T91" fmla="*/ 114 h 210"/>
              <a:gd name="T92" fmla="*/ 540 w 902"/>
              <a:gd name="T93" fmla="*/ 126 h 210"/>
              <a:gd name="T94" fmla="*/ 535 w 902"/>
              <a:gd name="T95" fmla="*/ 136 h 210"/>
              <a:gd name="T96" fmla="*/ 527 w 902"/>
              <a:gd name="T97" fmla="*/ 144 h 210"/>
              <a:gd name="T98" fmla="*/ 517 w 902"/>
              <a:gd name="T99" fmla="*/ 149 h 210"/>
              <a:gd name="T100" fmla="*/ 511 w 902"/>
              <a:gd name="T101" fmla="*/ 150 h 210"/>
              <a:gd name="T102" fmla="*/ 15 w 902"/>
              <a:gd name="T103" fmla="*/ 0 h 210"/>
              <a:gd name="T104" fmla="*/ 5 w 902"/>
              <a:gd name="T105" fmla="*/ 4 h 210"/>
              <a:gd name="T106" fmla="*/ 0 w 902"/>
              <a:gd name="T107" fmla="*/ 15 h 210"/>
              <a:gd name="T108" fmla="*/ 902 w 902"/>
              <a:gd name="T109" fmla="*/ 210 h 210"/>
              <a:gd name="T110" fmla="*/ 900 w 902"/>
              <a:gd name="T111" fmla="*/ 9 h 210"/>
              <a:gd name="T112" fmla="*/ 892 w 902"/>
              <a:gd name="T113" fmla="*/ 1 h 210"/>
              <a:gd name="T114" fmla="*/ 886 w 902"/>
              <a:gd name="T115" fmla="*/ 0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02" h="210">
                <a:moveTo>
                  <a:pt x="751" y="150"/>
                </a:moveTo>
                <a:lnTo>
                  <a:pt x="745" y="149"/>
                </a:lnTo>
                <a:lnTo>
                  <a:pt x="739" y="148"/>
                </a:lnTo>
                <a:lnTo>
                  <a:pt x="735" y="144"/>
                </a:lnTo>
                <a:lnTo>
                  <a:pt x="730" y="141"/>
                </a:lnTo>
                <a:lnTo>
                  <a:pt x="727" y="136"/>
                </a:lnTo>
                <a:lnTo>
                  <a:pt x="723" y="132"/>
                </a:lnTo>
                <a:lnTo>
                  <a:pt x="722" y="126"/>
                </a:lnTo>
                <a:lnTo>
                  <a:pt x="721" y="120"/>
                </a:lnTo>
                <a:lnTo>
                  <a:pt x="722" y="114"/>
                </a:lnTo>
                <a:lnTo>
                  <a:pt x="723" y="109"/>
                </a:lnTo>
                <a:lnTo>
                  <a:pt x="727" y="104"/>
                </a:lnTo>
                <a:lnTo>
                  <a:pt x="730" y="99"/>
                </a:lnTo>
                <a:lnTo>
                  <a:pt x="735" y="96"/>
                </a:lnTo>
                <a:lnTo>
                  <a:pt x="739" y="92"/>
                </a:lnTo>
                <a:lnTo>
                  <a:pt x="745" y="91"/>
                </a:lnTo>
                <a:lnTo>
                  <a:pt x="751" y="90"/>
                </a:lnTo>
                <a:lnTo>
                  <a:pt x="758" y="91"/>
                </a:lnTo>
                <a:lnTo>
                  <a:pt x="763" y="92"/>
                </a:lnTo>
                <a:lnTo>
                  <a:pt x="768" y="96"/>
                </a:lnTo>
                <a:lnTo>
                  <a:pt x="773" y="99"/>
                </a:lnTo>
                <a:lnTo>
                  <a:pt x="776" y="104"/>
                </a:lnTo>
                <a:lnTo>
                  <a:pt x="779" y="109"/>
                </a:lnTo>
                <a:lnTo>
                  <a:pt x="781" y="114"/>
                </a:lnTo>
                <a:lnTo>
                  <a:pt x="781" y="120"/>
                </a:lnTo>
                <a:lnTo>
                  <a:pt x="781" y="126"/>
                </a:lnTo>
                <a:lnTo>
                  <a:pt x="779" y="132"/>
                </a:lnTo>
                <a:lnTo>
                  <a:pt x="776" y="136"/>
                </a:lnTo>
                <a:lnTo>
                  <a:pt x="773" y="141"/>
                </a:lnTo>
                <a:lnTo>
                  <a:pt x="768" y="144"/>
                </a:lnTo>
                <a:lnTo>
                  <a:pt x="763" y="148"/>
                </a:lnTo>
                <a:lnTo>
                  <a:pt x="757" y="149"/>
                </a:lnTo>
                <a:lnTo>
                  <a:pt x="751" y="150"/>
                </a:lnTo>
                <a:lnTo>
                  <a:pt x="751" y="150"/>
                </a:lnTo>
                <a:close/>
                <a:moveTo>
                  <a:pt x="632" y="150"/>
                </a:moveTo>
                <a:lnTo>
                  <a:pt x="625" y="149"/>
                </a:lnTo>
                <a:lnTo>
                  <a:pt x="619" y="148"/>
                </a:lnTo>
                <a:lnTo>
                  <a:pt x="614" y="144"/>
                </a:lnTo>
                <a:lnTo>
                  <a:pt x="610" y="141"/>
                </a:lnTo>
                <a:lnTo>
                  <a:pt x="606" y="136"/>
                </a:lnTo>
                <a:lnTo>
                  <a:pt x="604" y="132"/>
                </a:lnTo>
                <a:lnTo>
                  <a:pt x="602" y="126"/>
                </a:lnTo>
                <a:lnTo>
                  <a:pt x="602" y="120"/>
                </a:lnTo>
                <a:lnTo>
                  <a:pt x="602" y="114"/>
                </a:lnTo>
                <a:lnTo>
                  <a:pt x="604" y="109"/>
                </a:lnTo>
                <a:lnTo>
                  <a:pt x="606" y="104"/>
                </a:lnTo>
                <a:lnTo>
                  <a:pt x="610" y="99"/>
                </a:lnTo>
                <a:lnTo>
                  <a:pt x="614" y="96"/>
                </a:lnTo>
                <a:lnTo>
                  <a:pt x="619" y="92"/>
                </a:lnTo>
                <a:lnTo>
                  <a:pt x="625" y="91"/>
                </a:lnTo>
                <a:lnTo>
                  <a:pt x="632" y="90"/>
                </a:lnTo>
                <a:lnTo>
                  <a:pt x="637" y="91"/>
                </a:lnTo>
                <a:lnTo>
                  <a:pt x="643" y="92"/>
                </a:lnTo>
                <a:lnTo>
                  <a:pt x="648" y="96"/>
                </a:lnTo>
                <a:lnTo>
                  <a:pt x="652" y="99"/>
                </a:lnTo>
                <a:lnTo>
                  <a:pt x="656" y="104"/>
                </a:lnTo>
                <a:lnTo>
                  <a:pt x="658" y="109"/>
                </a:lnTo>
                <a:lnTo>
                  <a:pt x="661" y="114"/>
                </a:lnTo>
                <a:lnTo>
                  <a:pt x="661" y="120"/>
                </a:lnTo>
                <a:lnTo>
                  <a:pt x="661" y="126"/>
                </a:lnTo>
                <a:lnTo>
                  <a:pt x="658" y="132"/>
                </a:lnTo>
                <a:lnTo>
                  <a:pt x="656" y="136"/>
                </a:lnTo>
                <a:lnTo>
                  <a:pt x="652" y="141"/>
                </a:lnTo>
                <a:lnTo>
                  <a:pt x="648" y="144"/>
                </a:lnTo>
                <a:lnTo>
                  <a:pt x="643" y="148"/>
                </a:lnTo>
                <a:lnTo>
                  <a:pt x="637" y="149"/>
                </a:lnTo>
                <a:lnTo>
                  <a:pt x="632" y="150"/>
                </a:lnTo>
                <a:lnTo>
                  <a:pt x="632" y="150"/>
                </a:lnTo>
                <a:close/>
                <a:moveTo>
                  <a:pt x="511" y="150"/>
                </a:moveTo>
                <a:lnTo>
                  <a:pt x="505" y="149"/>
                </a:lnTo>
                <a:lnTo>
                  <a:pt x="500" y="148"/>
                </a:lnTo>
                <a:lnTo>
                  <a:pt x="494" y="144"/>
                </a:lnTo>
                <a:lnTo>
                  <a:pt x="489" y="141"/>
                </a:lnTo>
                <a:lnTo>
                  <a:pt x="486" y="136"/>
                </a:lnTo>
                <a:lnTo>
                  <a:pt x="483" y="132"/>
                </a:lnTo>
                <a:lnTo>
                  <a:pt x="481" y="126"/>
                </a:lnTo>
                <a:lnTo>
                  <a:pt x="481" y="120"/>
                </a:lnTo>
                <a:lnTo>
                  <a:pt x="481" y="114"/>
                </a:lnTo>
                <a:lnTo>
                  <a:pt x="483" y="109"/>
                </a:lnTo>
                <a:lnTo>
                  <a:pt x="486" y="104"/>
                </a:lnTo>
                <a:lnTo>
                  <a:pt x="489" y="99"/>
                </a:lnTo>
                <a:lnTo>
                  <a:pt x="494" y="96"/>
                </a:lnTo>
                <a:lnTo>
                  <a:pt x="500" y="92"/>
                </a:lnTo>
                <a:lnTo>
                  <a:pt x="505" y="91"/>
                </a:lnTo>
                <a:lnTo>
                  <a:pt x="511" y="90"/>
                </a:lnTo>
                <a:lnTo>
                  <a:pt x="517" y="91"/>
                </a:lnTo>
                <a:lnTo>
                  <a:pt x="523" y="92"/>
                </a:lnTo>
                <a:lnTo>
                  <a:pt x="527" y="96"/>
                </a:lnTo>
                <a:lnTo>
                  <a:pt x="532" y="99"/>
                </a:lnTo>
                <a:lnTo>
                  <a:pt x="535" y="104"/>
                </a:lnTo>
                <a:lnTo>
                  <a:pt x="539" y="109"/>
                </a:lnTo>
                <a:lnTo>
                  <a:pt x="540" y="114"/>
                </a:lnTo>
                <a:lnTo>
                  <a:pt x="541" y="120"/>
                </a:lnTo>
                <a:lnTo>
                  <a:pt x="540" y="126"/>
                </a:lnTo>
                <a:lnTo>
                  <a:pt x="539" y="132"/>
                </a:lnTo>
                <a:lnTo>
                  <a:pt x="535" y="136"/>
                </a:lnTo>
                <a:lnTo>
                  <a:pt x="532" y="141"/>
                </a:lnTo>
                <a:lnTo>
                  <a:pt x="527" y="144"/>
                </a:lnTo>
                <a:lnTo>
                  <a:pt x="523" y="148"/>
                </a:lnTo>
                <a:lnTo>
                  <a:pt x="517" y="149"/>
                </a:lnTo>
                <a:lnTo>
                  <a:pt x="511" y="150"/>
                </a:lnTo>
                <a:lnTo>
                  <a:pt x="511" y="150"/>
                </a:lnTo>
                <a:close/>
                <a:moveTo>
                  <a:pt x="886" y="0"/>
                </a:moveTo>
                <a:lnTo>
                  <a:pt x="15" y="0"/>
                </a:lnTo>
                <a:lnTo>
                  <a:pt x="10" y="1"/>
                </a:lnTo>
                <a:lnTo>
                  <a:pt x="5" y="4"/>
                </a:lnTo>
                <a:lnTo>
                  <a:pt x="2" y="9"/>
                </a:lnTo>
                <a:lnTo>
                  <a:pt x="0" y="15"/>
                </a:lnTo>
                <a:lnTo>
                  <a:pt x="0" y="210"/>
                </a:lnTo>
                <a:lnTo>
                  <a:pt x="902" y="210"/>
                </a:lnTo>
                <a:lnTo>
                  <a:pt x="902" y="15"/>
                </a:lnTo>
                <a:lnTo>
                  <a:pt x="900" y="9"/>
                </a:lnTo>
                <a:lnTo>
                  <a:pt x="897" y="4"/>
                </a:lnTo>
                <a:lnTo>
                  <a:pt x="892" y="1"/>
                </a:lnTo>
                <a:lnTo>
                  <a:pt x="886" y="0"/>
                </a:lnTo>
                <a:lnTo>
                  <a:pt x="88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0" name="Freeform 4777">
            <a:extLst>
              <a:ext uri="{FF2B5EF4-FFF2-40B4-BE49-F238E27FC236}">
                <a16:creationId xmlns="" xmlns:a16="http://schemas.microsoft.com/office/drawing/2014/main" id="{8C2F6FD5-B324-40F5-B07F-DCC3F9F9DA63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536856"/>
            <a:ext cx="396000" cy="288000"/>
          </a:xfrm>
          <a:custGeom>
            <a:avLst/>
            <a:gdLst>
              <a:gd name="T0" fmla="*/ 216 w 902"/>
              <a:gd name="T1" fmla="*/ 331 h 510"/>
              <a:gd name="T2" fmla="*/ 225 w 902"/>
              <a:gd name="T3" fmla="*/ 345 h 510"/>
              <a:gd name="T4" fmla="*/ 216 w 902"/>
              <a:gd name="T5" fmla="*/ 359 h 510"/>
              <a:gd name="T6" fmla="*/ 145 w 902"/>
              <a:gd name="T7" fmla="*/ 359 h 510"/>
              <a:gd name="T8" fmla="*/ 136 w 902"/>
              <a:gd name="T9" fmla="*/ 345 h 510"/>
              <a:gd name="T10" fmla="*/ 145 w 902"/>
              <a:gd name="T11" fmla="*/ 331 h 510"/>
              <a:gd name="T12" fmla="*/ 151 w 902"/>
              <a:gd name="T13" fmla="*/ 209 h 510"/>
              <a:gd name="T14" fmla="*/ 222 w 902"/>
              <a:gd name="T15" fmla="*/ 214 h 510"/>
              <a:gd name="T16" fmla="*/ 224 w 902"/>
              <a:gd name="T17" fmla="*/ 230 h 510"/>
              <a:gd name="T18" fmla="*/ 210 w 902"/>
              <a:gd name="T19" fmla="*/ 239 h 510"/>
              <a:gd name="T20" fmla="*/ 139 w 902"/>
              <a:gd name="T21" fmla="*/ 235 h 510"/>
              <a:gd name="T22" fmla="*/ 137 w 902"/>
              <a:gd name="T23" fmla="*/ 218 h 510"/>
              <a:gd name="T24" fmla="*/ 151 w 902"/>
              <a:gd name="T25" fmla="*/ 209 h 510"/>
              <a:gd name="T26" fmla="*/ 210 w 902"/>
              <a:gd name="T27" fmla="*/ 90 h 510"/>
              <a:gd name="T28" fmla="*/ 224 w 902"/>
              <a:gd name="T29" fmla="*/ 99 h 510"/>
              <a:gd name="T30" fmla="*/ 222 w 902"/>
              <a:gd name="T31" fmla="*/ 115 h 510"/>
              <a:gd name="T32" fmla="*/ 151 w 902"/>
              <a:gd name="T33" fmla="*/ 119 h 510"/>
              <a:gd name="T34" fmla="*/ 137 w 902"/>
              <a:gd name="T35" fmla="*/ 111 h 510"/>
              <a:gd name="T36" fmla="*/ 139 w 902"/>
              <a:gd name="T37" fmla="*/ 93 h 510"/>
              <a:gd name="T38" fmla="*/ 330 w 902"/>
              <a:gd name="T39" fmla="*/ 330 h 510"/>
              <a:gd name="T40" fmla="*/ 732 w 902"/>
              <a:gd name="T41" fmla="*/ 334 h 510"/>
              <a:gd name="T42" fmla="*/ 735 w 902"/>
              <a:gd name="T43" fmla="*/ 350 h 510"/>
              <a:gd name="T44" fmla="*/ 721 w 902"/>
              <a:gd name="T45" fmla="*/ 360 h 510"/>
              <a:gd name="T46" fmla="*/ 320 w 902"/>
              <a:gd name="T47" fmla="*/ 355 h 510"/>
              <a:gd name="T48" fmla="*/ 317 w 902"/>
              <a:gd name="T49" fmla="*/ 339 h 510"/>
              <a:gd name="T50" fmla="*/ 330 w 902"/>
              <a:gd name="T51" fmla="*/ 330 h 510"/>
              <a:gd name="T52" fmla="*/ 721 w 902"/>
              <a:gd name="T53" fmla="*/ 209 h 510"/>
              <a:gd name="T54" fmla="*/ 735 w 902"/>
              <a:gd name="T55" fmla="*/ 218 h 510"/>
              <a:gd name="T56" fmla="*/ 732 w 902"/>
              <a:gd name="T57" fmla="*/ 235 h 510"/>
              <a:gd name="T58" fmla="*/ 330 w 902"/>
              <a:gd name="T59" fmla="*/ 239 h 510"/>
              <a:gd name="T60" fmla="*/ 317 w 902"/>
              <a:gd name="T61" fmla="*/ 230 h 510"/>
              <a:gd name="T62" fmla="*/ 320 w 902"/>
              <a:gd name="T63" fmla="*/ 214 h 510"/>
              <a:gd name="T64" fmla="*/ 330 w 902"/>
              <a:gd name="T65" fmla="*/ 209 h 510"/>
              <a:gd name="T66" fmla="*/ 727 w 902"/>
              <a:gd name="T67" fmla="*/ 91 h 510"/>
              <a:gd name="T68" fmla="*/ 736 w 902"/>
              <a:gd name="T69" fmla="*/ 105 h 510"/>
              <a:gd name="T70" fmla="*/ 727 w 902"/>
              <a:gd name="T71" fmla="*/ 118 h 510"/>
              <a:gd name="T72" fmla="*/ 325 w 902"/>
              <a:gd name="T73" fmla="*/ 118 h 510"/>
              <a:gd name="T74" fmla="*/ 315 w 902"/>
              <a:gd name="T75" fmla="*/ 105 h 510"/>
              <a:gd name="T76" fmla="*/ 325 w 902"/>
              <a:gd name="T77" fmla="*/ 91 h 510"/>
              <a:gd name="T78" fmla="*/ 2 w 902"/>
              <a:gd name="T79" fmla="*/ 501 h 510"/>
              <a:gd name="T80" fmla="*/ 15 w 902"/>
              <a:gd name="T81" fmla="*/ 510 h 510"/>
              <a:gd name="T82" fmla="*/ 897 w 902"/>
              <a:gd name="T83" fmla="*/ 506 h 510"/>
              <a:gd name="T84" fmla="*/ 902 w 902"/>
              <a:gd name="T85" fmla="*/ 0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02" h="510">
                <a:moveTo>
                  <a:pt x="151" y="330"/>
                </a:moveTo>
                <a:lnTo>
                  <a:pt x="210" y="330"/>
                </a:lnTo>
                <a:lnTo>
                  <a:pt x="216" y="331"/>
                </a:lnTo>
                <a:lnTo>
                  <a:pt x="222" y="334"/>
                </a:lnTo>
                <a:lnTo>
                  <a:pt x="224" y="339"/>
                </a:lnTo>
                <a:lnTo>
                  <a:pt x="225" y="345"/>
                </a:lnTo>
                <a:lnTo>
                  <a:pt x="224" y="350"/>
                </a:lnTo>
                <a:lnTo>
                  <a:pt x="222" y="355"/>
                </a:lnTo>
                <a:lnTo>
                  <a:pt x="216" y="359"/>
                </a:lnTo>
                <a:lnTo>
                  <a:pt x="210" y="360"/>
                </a:lnTo>
                <a:lnTo>
                  <a:pt x="151" y="360"/>
                </a:lnTo>
                <a:lnTo>
                  <a:pt x="145" y="359"/>
                </a:lnTo>
                <a:lnTo>
                  <a:pt x="139" y="355"/>
                </a:lnTo>
                <a:lnTo>
                  <a:pt x="137" y="350"/>
                </a:lnTo>
                <a:lnTo>
                  <a:pt x="136" y="345"/>
                </a:lnTo>
                <a:lnTo>
                  <a:pt x="137" y="339"/>
                </a:lnTo>
                <a:lnTo>
                  <a:pt x="139" y="334"/>
                </a:lnTo>
                <a:lnTo>
                  <a:pt x="145" y="331"/>
                </a:lnTo>
                <a:lnTo>
                  <a:pt x="151" y="330"/>
                </a:lnTo>
                <a:lnTo>
                  <a:pt x="151" y="330"/>
                </a:lnTo>
                <a:close/>
                <a:moveTo>
                  <a:pt x="151" y="209"/>
                </a:moveTo>
                <a:lnTo>
                  <a:pt x="210" y="209"/>
                </a:lnTo>
                <a:lnTo>
                  <a:pt x="216" y="210"/>
                </a:lnTo>
                <a:lnTo>
                  <a:pt x="222" y="214"/>
                </a:lnTo>
                <a:lnTo>
                  <a:pt x="224" y="218"/>
                </a:lnTo>
                <a:lnTo>
                  <a:pt x="225" y="224"/>
                </a:lnTo>
                <a:lnTo>
                  <a:pt x="224" y="230"/>
                </a:lnTo>
                <a:lnTo>
                  <a:pt x="222" y="235"/>
                </a:lnTo>
                <a:lnTo>
                  <a:pt x="216" y="238"/>
                </a:lnTo>
                <a:lnTo>
                  <a:pt x="210" y="239"/>
                </a:lnTo>
                <a:lnTo>
                  <a:pt x="151" y="239"/>
                </a:lnTo>
                <a:lnTo>
                  <a:pt x="145" y="238"/>
                </a:lnTo>
                <a:lnTo>
                  <a:pt x="139" y="235"/>
                </a:lnTo>
                <a:lnTo>
                  <a:pt x="137" y="230"/>
                </a:lnTo>
                <a:lnTo>
                  <a:pt x="136" y="224"/>
                </a:lnTo>
                <a:lnTo>
                  <a:pt x="137" y="218"/>
                </a:lnTo>
                <a:lnTo>
                  <a:pt x="139" y="214"/>
                </a:lnTo>
                <a:lnTo>
                  <a:pt x="145" y="210"/>
                </a:lnTo>
                <a:lnTo>
                  <a:pt x="151" y="209"/>
                </a:lnTo>
                <a:lnTo>
                  <a:pt x="151" y="209"/>
                </a:lnTo>
                <a:close/>
                <a:moveTo>
                  <a:pt x="151" y="90"/>
                </a:moveTo>
                <a:lnTo>
                  <a:pt x="210" y="90"/>
                </a:lnTo>
                <a:lnTo>
                  <a:pt x="216" y="91"/>
                </a:lnTo>
                <a:lnTo>
                  <a:pt x="222" y="93"/>
                </a:lnTo>
                <a:lnTo>
                  <a:pt x="224" y="99"/>
                </a:lnTo>
                <a:lnTo>
                  <a:pt x="225" y="105"/>
                </a:lnTo>
                <a:lnTo>
                  <a:pt x="224" y="111"/>
                </a:lnTo>
                <a:lnTo>
                  <a:pt x="222" y="115"/>
                </a:lnTo>
                <a:lnTo>
                  <a:pt x="216" y="118"/>
                </a:lnTo>
                <a:lnTo>
                  <a:pt x="210" y="120"/>
                </a:lnTo>
                <a:lnTo>
                  <a:pt x="151" y="119"/>
                </a:lnTo>
                <a:lnTo>
                  <a:pt x="145" y="118"/>
                </a:lnTo>
                <a:lnTo>
                  <a:pt x="139" y="115"/>
                </a:lnTo>
                <a:lnTo>
                  <a:pt x="137" y="111"/>
                </a:lnTo>
                <a:lnTo>
                  <a:pt x="136" y="105"/>
                </a:lnTo>
                <a:lnTo>
                  <a:pt x="137" y="99"/>
                </a:lnTo>
                <a:lnTo>
                  <a:pt x="139" y="93"/>
                </a:lnTo>
                <a:lnTo>
                  <a:pt x="145" y="91"/>
                </a:lnTo>
                <a:lnTo>
                  <a:pt x="151" y="90"/>
                </a:lnTo>
                <a:close/>
                <a:moveTo>
                  <a:pt x="330" y="330"/>
                </a:moveTo>
                <a:lnTo>
                  <a:pt x="721" y="330"/>
                </a:lnTo>
                <a:lnTo>
                  <a:pt x="727" y="331"/>
                </a:lnTo>
                <a:lnTo>
                  <a:pt x="732" y="334"/>
                </a:lnTo>
                <a:lnTo>
                  <a:pt x="735" y="339"/>
                </a:lnTo>
                <a:lnTo>
                  <a:pt x="736" y="345"/>
                </a:lnTo>
                <a:lnTo>
                  <a:pt x="735" y="350"/>
                </a:lnTo>
                <a:lnTo>
                  <a:pt x="732" y="355"/>
                </a:lnTo>
                <a:lnTo>
                  <a:pt x="727" y="359"/>
                </a:lnTo>
                <a:lnTo>
                  <a:pt x="721" y="360"/>
                </a:lnTo>
                <a:lnTo>
                  <a:pt x="330" y="360"/>
                </a:lnTo>
                <a:lnTo>
                  <a:pt x="325" y="359"/>
                </a:lnTo>
                <a:lnTo>
                  <a:pt x="320" y="355"/>
                </a:lnTo>
                <a:lnTo>
                  <a:pt x="317" y="350"/>
                </a:lnTo>
                <a:lnTo>
                  <a:pt x="315" y="345"/>
                </a:lnTo>
                <a:lnTo>
                  <a:pt x="317" y="339"/>
                </a:lnTo>
                <a:lnTo>
                  <a:pt x="320" y="334"/>
                </a:lnTo>
                <a:lnTo>
                  <a:pt x="325" y="331"/>
                </a:lnTo>
                <a:lnTo>
                  <a:pt x="330" y="330"/>
                </a:lnTo>
                <a:lnTo>
                  <a:pt x="330" y="330"/>
                </a:lnTo>
                <a:close/>
                <a:moveTo>
                  <a:pt x="330" y="209"/>
                </a:moveTo>
                <a:lnTo>
                  <a:pt x="721" y="209"/>
                </a:lnTo>
                <a:lnTo>
                  <a:pt x="727" y="210"/>
                </a:lnTo>
                <a:lnTo>
                  <a:pt x="732" y="214"/>
                </a:lnTo>
                <a:lnTo>
                  <a:pt x="735" y="218"/>
                </a:lnTo>
                <a:lnTo>
                  <a:pt x="736" y="224"/>
                </a:lnTo>
                <a:lnTo>
                  <a:pt x="735" y="230"/>
                </a:lnTo>
                <a:lnTo>
                  <a:pt x="732" y="235"/>
                </a:lnTo>
                <a:lnTo>
                  <a:pt x="727" y="238"/>
                </a:lnTo>
                <a:lnTo>
                  <a:pt x="721" y="239"/>
                </a:lnTo>
                <a:lnTo>
                  <a:pt x="330" y="239"/>
                </a:lnTo>
                <a:lnTo>
                  <a:pt x="325" y="238"/>
                </a:lnTo>
                <a:lnTo>
                  <a:pt x="320" y="235"/>
                </a:lnTo>
                <a:lnTo>
                  <a:pt x="317" y="230"/>
                </a:lnTo>
                <a:lnTo>
                  <a:pt x="315" y="224"/>
                </a:lnTo>
                <a:lnTo>
                  <a:pt x="317" y="218"/>
                </a:lnTo>
                <a:lnTo>
                  <a:pt x="320" y="214"/>
                </a:lnTo>
                <a:lnTo>
                  <a:pt x="325" y="210"/>
                </a:lnTo>
                <a:lnTo>
                  <a:pt x="330" y="209"/>
                </a:lnTo>
                <a:lnTo>
                  <a:pt x="330" y="209"/>
                </a:lnTo>
                <a:close/>
                <a:moveTo>
                  <a:pt x="330" y="90"/>
                </a:moveTo>
                <a:lnTo>
                  <a:pt x="721" y="90"/>
                </a:lnTo>
                <a:lnTo>
                  <a:pt x="727" y="91"/>
                </a:lnTo>
                <a:lnTo>
                  <a:pt x="732" y="93"/>
                </a:lnTo>
                <a:lnTo>
                  <a:pt x="735" y="99"/>
                </a:lnTo>
                <a:lnTo>
                  <a:pt x="736" y="105"/>
                </a:lnTo>
                <a:lnTo>
                  <a:pt x="735" y="111"/>
                </a:lnTo>
                <a:lnTo>
                  <a:pt x="732" y="115"/>
                </a:lnTo>
                <a:lnTo>
                  <a:pt x="727" y="118"/>
                </a:lnTo>
                <a:lnTo>
                  <a:pt x="721" y="120"/>
                </a:lnTo>
                <a:lnTo>
                  <a:pt x="330" y="119"/>
                </a:lnTo>
                <a:lnTo>
                  <a:pt x="325" y="118"/>
                </a:lnTo>
                <a:lnTo>
                  <a:pt x="320" y="115"/>
                </a:lnTo>
                <a:lnTo>
                  <a:pt x="317" y="111"/>
                </a:lnTo>
                <a:lnTo>
                  <a:pt x="315" y="105"/>
                </a:lnTo>
                <a:lnTo>
                  <a:pt x="317" y="99"/>
                </a:lnTo>
                <a:lnTo>
                  <a:pt x="320" y="93"/>
                </a:lnTo>
                <a:lnTo>
                  <a:pt x="325" y="91"/>
                </a:lnTo>
                <a:lnTo>
                  <a:pt x="330" y="90"/>
                </a:lnTo>
                <a:close/>
                <a:moveTo>
                  <a:pt x="0" y="495"/>
                </a:moveTo>
                <a:lnTo>
                  <a:pt x="2" y="501"/>
                </a:lnTo>
                <a:lnTo>
                  <a:pt x="5" y="506"/>
                </a:lnTo>
                <a:lnTo>
                  <a:pt x="10" y="509"/>
                </a:lnTo>
                <a:lnTo>
                  <a:pt x="15" y="510"/>
                </a:lnTo>
                <a:lnTo>
                  <a:pt x="886" y="510"/>
                </a:lnTo>
                <a:lnTo>
                  <a:pt x="892" y="509"/>
                </a:lnTo>
                <a:lnTo>
                  <a:pt x="897" y="506"/>
                </a:lnTo>
                <a:lnTo>
                  <a:pt x="900" y="501"/>
                </a:lnTo>
                <a:lnTo>
                  <a:pt x="902" y="495"/>
                </a:lnTo>
                <a:lnTo>
                  <a:pt x="902" y="0"/>
                </a:lnTo>
                <a:lnTo>
                  <a:pt x="0" y="0"/>
                </a:lnTo>
                <a:lnTo>
                  <a:pt x="0" y="4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prstClr val="black"/>
              </a:solidFill>
            </a:endParaRPr>
          </a:p>
        </p:txBody>
      </p:sp>
      <p:pic>
        <p:nvPicPr>
          <p:cNvPr id="2" name="Picture 2" descr="https://i.gyazo.com/8190ad64f99ac0c03989aaaa8af960ef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9" t="-417" r="1807" b="417"/>
          <a:stretch/>
        </p:blipFill>
        <p:spPr bwMode="auto">
          <a:xfrm>
            <a:off x="688769" y="2895600"/>
            <a:ext cx="7693231" cy="342000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矩形 17"/>
          <p:cNvSpPr/>
          <p:nvPr/>
        </p:nvSpPr>
        <p:spPr>
          <a:xfrm>
            <a:off x="1220864" y="5062800"/>
            <a:ext cx="6858000" cy="1066800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3886200" y="2133600"/>
            <a:ext cx="4952999" cy="13081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TW" altLang="en-US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會員專區的帳號維護頁籤，</a:t>
            </a:r>
            <a:r>
              <a:rPr lang="zh-TW" altLang="en-US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可讓您</a:t>
            </a:r>
            <a:r>
              <a:rPr lang="zh-TW" altLang="en-US" b="1" dirty="0" smtClean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連結第三方帳號</a:t>
            </a:r>
            <a:r>
              <a:rPr lang="zh-TW" altLang="en-US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。連結完成後，您可使用第三方帳號登入。</a:t>
            </a:r>
            <a:endParaRPr lang="zh-TW" altLang="en-US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1768726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4" name="Straight Connector 79">
            <a:extLst>
              <a:ext uri="{FF2B5EF4-FFF2-40B4-BE49-F238E27FC236}">
                <a16:creationId xmlns="" xmlns:a16="http://schemas.microsoft.com/office/drawing/2014/main" id="{C83B00C3-2C33-47B9-BA79-F986ED554869}"/>
              </a:ext>
            </a:extLst>
          </p:cNvPr>
          <p:cNvCxnSpPr/>
          <p:nvPr/>
        </p:nvCxnSpPr>
        <p:spPr>
          <a:xfrm>
            <a:off x="2400865" y="838200"/>
            <a:ext cx="4304735" cy="0"/>
          </a:xfrm>
          <a:prstGeom prst="line">
            <a:avLst/>
          </a:prstGeom>
          <a:ln w="19050">
            <a:headEnd type="oval" w="med" len="med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6" name="文字方塊 115"/>
          <p:cNvSpPr txBox="1"/>
          <p:nvPr/>
        </p:nvSpPr>
        <p:spPr>
          <a:xfrm>
            <a:off x="3657600" y="228600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32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特色功能</a:t>
            </a:r>
            <a:endParaRPr lang="zh-TW" altLang="en-US" sz="32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026" name="Picture 2" descr="https://i.gyazo.com/bd9aae19d3de215c358b92b32499cb2b.pn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>
                        <a14:foregroundMark x1="37809" y1="56818" x2="37809" y2="56818"/>
                        <a14:foregroundMark x1="68198" y1="79167" x2="68198" y2="791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102" t="5940" r="11564" b="5748"/>
          <a:stretch/>
        </p:blipFill>
        <p:spPr bwMode="auto">
          <a:xfrm>
            <a:off x="820935" y="1219614"/>
            <a:ext cx="987594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74">
            <a:extLst>
              <a:ext uri="{FF2B5EF4-FFF2-40B4-BE49-F238E27FC236}">
                <a16:creationId xmlns="" xmlns:a16="http://schemas.microsoft.com/office/drawing/2014/main" id="{9C1B991C-1490-4B54-A76E-D30880743F6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04800" y="2352351"/>
            <a:ext cx="2019865" cy="872418"/>
          </a:xfrm>
          <a:prstGeom prst="rect">
            <a:avLst/>
          </a:prstGeom>
          <a:effectLst/>
        </p:spPr>
        <p:txBody>
          <a:bodyPr wrap="square" anchor="t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zh-TW" altLang="en-US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收錄</a:t>
            </a:r>
            <a:r>
              <a:rPr lang="zh-TW" altLang="en-US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多樣學術專書和出版社獨家書籍</a:t>
            </a:r>
            <a:endParaRPr lang="en-US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" name="Rectangle 75">
            <a:extLst>
              <a:ext uri="{FF2B5EF4-FFF2-40B4-BE49-F238E27FC236}">
                <a16:creationId xmlns="" xmlns:a16="http://schemas.microsoft.com/office/drawing/2014/main" id="{1D656F76-4754-4DE9-A088-9074FC31F8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04800" y="3258502"/>
            <a:ext cx="2029013" cy="344709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zh-TW" altLang="en-US" sz="2000" b="1" dirty="0" smtClean="0">
                <a:solidFill>
                  <a:srgbClr val="F7964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收 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錄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近</a:t>
            </a:r>
            <a:r>
              <a:rPr lang="en-US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3000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家出版社、逾</a:t>
            </a:r>
            <a:r>
              <a:rPr lang="en-US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80,000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本繁體中文電子書。</a:t>
            </a:r>
          </a:p>
          <a:p>
            <a:pPr defTabSz="914400">
              <a:lnSpc>
                <a:spcPct val="150000"/>
              </a:lnSpc>
            </a:pPr>
            <a:r>
              <a:rPr lang="zh-TW" altLang="en-US" sz="2000" b="1" dirty="0" smtClean="0">
                <a:solidFill>
                  <a:srgbClr val="F7964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豐 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富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書籍種類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endParaRPr lang="en-US" altLang="zh-TW" sz="1600" b="1" dirty="0" smtClean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defTabSz="914400">
              <a:lnSpc>
                <a:spcPct val="150000"/>
              </a:lnSpc>
            </a:pP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囊括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商管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財經、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文學小說、語言學習、各學科專業、設計藝術等類型。</a:t>
            </a:r>
          </a:p>
          <a:p>
            <a:pPr defTabSz="914400"/>
            <a:endParaRPr 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028" name="Picture 4" descr="https://i.gyazo.com/7836b19238e343fa339e25d3b78a9548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4235" b="96091" l="2894" r="95177">
                        <a14:foregroundMark x1="35691" y1="54072" x2="35691" y2="54072"/>
                        <a14:foregroundMark x1="76527" y1="38762" x2="76527" y2="38762"/>
                        <a14:foregroundMark x1="89068" y1="28664" x2="89068" y2="28664"/>
                        <a14:foregroundMark x1="82637" y1="69707" x2="82637" y2="6970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5595" y="1230133"/>
            <a:ext cx="1094071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84">
            <a:extLst>
              <a:ext uri="{FF2B5EF4-FFF2-40B4-BE49-F238E27FC236}">
                <a16:creationId xmlns="" xmlns:a16="http://schemas.microsoft.com/office/drawing/2014/main" id="{BC5F4698-8B23-4ABB-ACB0-E2A7FC468D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536623" y="2382079"/>
            <a:ext cx="2092016" cy="872418"/>
          </a:xfrm>
          <a:prstGeom prst="rect">
            <a:avLst/>
          </a:prstGeom>
          <a:effectLst/>
        </p:spPr>
        <p:txBody>
          <a:bodyPr wrap="square" anchor="t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zh-TW" altLang="en-US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整合</a:t>
            </a:r>
            <a:r>
              <a:rPr lang="zh-TW" altLang="en-US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期刊論文</a:t>
            </a:r>
            <a:r>
              <a:rPr lang="zh-TW" altLang="en-US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和</a:t>
            </a:r>
            <a:endParaRPr lang="en-US" altLang="zh-TW" b="1" dirty="0" smtClean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defTabSz="914400">
              <a:lnSpc>
                <a:spcPct val="150000"/>
              </a:lnSpc>
            </a:pPr>
            <a:r>
              <a:rPr lang="zh-TW" altLang="en-US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的新版</a:t>
            </a:r>
            <a:r>
              <a:rPr lang="en-US" altLang="zh-TW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PP</a:t>
            </a:r>
            <a:endParaRPr lang="en-US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7" name="Rectangle 75">
            <a:extLst>
              <a:ext uri="{FF2B5EF4-FFF2-40B4-BE49-F238E27FC236}">
                <a16:creationId xmlns="" xmlns:a16="http://schemas.microsoft.com/office/drawing/2014/main" id="{1D656F76-4754-4DE9-A088-9074FC31F88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39631" y="3242370"/>
            <a:ext cx="2130449" cy="310854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zh-TW" altLang="en-US" sz="2000" b="1" dirty="0" smtClean="0">
                <a:solidFill>
                  <a:srgbClr val="F7964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可 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同時查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找期刊論文和電子書，享受最專業的知識探索服務</a:t>
            </a:r>
            <a:r>
              <a:rPr lang="en-US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!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  <a:endParaRPr lang="zh-TW" altLang="en-US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defTabSz="914400">
              <a:lnSpc>
                <a:spcPct val="150000"/>
              </a:lnSpc>
            </a:pPr>
            <a:r>
              <a:rPr lang="zh-TW" altLang="en-US" sz="2000" b="1" dirty="0" smtClean="0">
                <a:solidFill>
                  <a:srgbClr val="F7964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以 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關鍵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詞延伸檢索功能，定位到最精確的目標文章、期刊或書籍。</a:t>
            </a:r>
          </a:p>
          <a:p>
            <a:pPr defTabSz="914400"/>
            <a:endParaRPr lang="en-US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030" name="Picture 6" descr="https://i.gyazo.com/c467666e8137d5b2664dc77d2f212302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4196" b="95455" l="3814" r="97034">
                        <a14:foregroundMark x1="60593" y1="29720" x2="60593" y2="29720"/>
                        <a14:foregroundMark x1="69492" y1="32867" x2="69492" y2="32867"/>
                        <a14:foregroundMark x1="41102" y1="38462" x2="41102" y2="38462"/>
                        <a14:foregroundMark x1="60593" y1="84615" x2="60593" y2="84615"/>
                        <a14:foregroundMark x1="19492" y1="39161" x2="19492" y2="39161"/>
                        <a14:foregroundMark x1="71610" y1="17483" x2="71610" y2="17483"/>
                        <a14:foregroundMark x1="20339" y1="70280" x2="20339" y2="70280"/>
                        <a14:foregroundMark x1="16102" y1="74126" x2="16102" y2="74126"/>
                        <a14:foregroundMark x1="47881" y1="95455" x2="47881" y2="95455"/>
                        <a14:foregroundMark x1="77966" y1="89510" x2="77966" y2="8951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2831" y="1209351"/>
            <a:ext cx="891188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74">
            <a:extLst>
              <a:ext uri="{FF2B5EF4-FFF2-40B4-BE49-F238E27FC236}">
                <a16:creationId xmlns="" xmlns:a16="http://schemas.microsoft.com/office/drawing/2014/main" id="{9C1B991C-1490-4B54-A76E-D30880743F6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725631" y="2394333"/>
            <a:ext cx="1982530" cy="872418"/>
          </a:xfrm>
          <a:prstGeom prst="rect">
            <a:avLst/>
          </a:prstGeom>
          <a:effectLst/>
        </p:spPr>
        <p:txBody>
          <a:bodyPr wrap="square" anchor="t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zh-TW" altLang="en-US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獨家</a:t>
            </a:r>
            <a:r>
              <a:rPr lang="zh-TW" altLang="en-US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圖書館電子館際</a:t>
            </a:r>
            <a:r>
              <a:rPr lang="zh-TW" altLang="en-US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合作服務</a:t>
            </a:r>
            <a:endParaRPr lang="en-US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0" name="Rectangle 75">
            <a:extLst>
              <a:ext uri="{FF2B5EF4-FFF2-40B4-BE49-F238E27FC236}">
                <a16:creationId xmlns="" xmlns:a16="http://schemas.microsoft.com/office/drawing/2014/main" id="{1D656F76-4754-4DE9-A088-9074FC31F88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649431" y="3242370"/>
            <a:ext cx="2165034" cy="353943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zh-TW" altLang="en-US" sz="2000" b="1" dirty="0" smtClean="0">
                <a:solidFill>
                  <a:srgbClr val="F7964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透 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過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系統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審核，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讀者能夠快速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取書。</a:t>
            </a:r>
            <a:endParaRPr lang="zh-TW" altLang="en-US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defTabSz="914400">
              <a:lnSpc>
                <a:spcPct val="150000"/>
              </a:lnSpc>
            </a:pPr>
            <a:r>
              <a:rPr lang="zh-TW" altLang="en-US" sz="2000" b="1" dirty="0" smtClean="0">
                <a:solidFill>
                  <a:srgbClr val="F7964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圖 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書館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資源活化，增加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校際借閱，擴大館藏被使用量。</a:t>
            </a:r>
          </a:p>
          <a:p>
            <a:pPr defTabSz="914400">
              <a:lnSpc>
                <a:spcPct val="150000"/>
              </a:lnSpc>
            </a:pPr>
            <a:r>
              <a:rPr lang="zh-TW" altLang="en-US" sz="2000" b="1" dirty="0" smtClean="0">
                <a:solidFill>
                  <a:srgbClr val="F7964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提 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供使用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統計報表，可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析館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合使用數據，做為館藏規劃參考。</a:t>
            </a:r>
          </a:p>
          <a:p>
            <a:pPr defTabSz="914400"/>
            <a:endParaRPr 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032" name="Picture 8" descr="https://i.gyazo.com/ac6eca13436880d7ff72818848973e9a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6135" b="96626" l="5030" r="89941">
                        <a14:foregroundMark x1="28402" y1="16871" x2="28402" y2="16871"/>
                        <a14:foregroundMark x1="29882" y1="23926" x2="29882" y2="23926"/>
                        <a14:foregroundMark x1="30473" y1="30675" x2="30473" y2="30675"/>
                        <a14:foregroundMark x1="31953" y1="37423" x2="31953" y2="37423"/>
                        <a14:foregroundMark x1="51479" y1="36196" x2="51479" y2="36196"/>
                        <a14:foregroundMark x1="55030" y1="28528" x2="55030" y2="28528"/>
                        <a14:foregroundMark x1="50592" y1="23006" x2="50592" y2="23006"/>
                        <a14:foregroundMark x1="50888" y1="18405" x2="50888" y2="1840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7831" y="1230133"/>
            <a:ext cx="1119755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84">
            <a:extLst>
              <a:ext uri="{FF2B5EF4-FFF2-40B4-BE49-F238E27FC236}">
                <a16:creationId xmlns="" xmlns:a16="http://schemas.microsoft.com/office/drawing/2014/main" id="{BC5F4698-8B23-4ABB-ACB0-E2A7FC468D7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813709" y="2534644"/>
            <a:ext cx="1800413" cy="507831"/>
          </a:xfrm>
          <a:prstGeom prst="rect">
            <a:avLst/>
          </a:prstGeom>
          <a:effectLst/>
        </p:spPr>
        <p:txBody>
          <a:bodyPr wrap="square" anchor="t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zh-TW" altLang="en-US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便捷的數位閱讀</a:t>
            </a:r>
            <a:endParaRPr lang="en-US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3" name="Rectangle 75">
            <a:extLst>
              <a:ext uri="{FF2B5EF4-FFF2-40B4-BE49-F238E27FC236}">
                <a16:creationId xmlns="" xmlns:a16="http://schemas.microsoft.com/office/drawing/2014/main" id="{1D656F76-4754-4DE9-A088-9074FC31F88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783031" y="3266751"/>
            <a:ext cx="2029013" cy="344709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zh-TW" altLang="en-US" sz="2000" b="1" dirty="0" smtClean="0">
                <a:solidFill>
                  <a:srgbClr val="F7964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圖 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書館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館藏均可直接線上閱讀，或下載至載具離線閱讀，不受載具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限制。</a:t>
            </a:r>
            <a:endParaRPr lang="zh-TW" altLang="en-US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defTabSz="914400">
              <a:lnSpc>
                <a:spcPct val="150000"/>
              </a:lnSpc>
            </a:pPr>
            <a:r>
              <a:rPr lang="zh-TW" altLang="en-US" sz="2000" b="1" dirty="0" smtClean="0">
                <a:solidFill>
                  <a:srgbClr val="F7964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 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增畫線、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筆記、</a:t>
            </a:r>
            <a:r>
              <a:rPr lang="zh-TW" altLang="en-US" sz="16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摘要等</a:t>
            </a:r>
            <a:r>
              <a:rPr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功能，讀者能夠快速瀏覽重點，並系統性整理閱讀心得。</a:t>
            </a:r>
          </a:p>
          <a:p>
            <a:pPr defTabSz="914400"/>
            <a:endParaRPr lang="en-US" sz="14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6390387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標題 2"/>
          <p:cNvSpPr>
            <a:spLocks noGrp="1"/>
          </p:cNvSpPr>
          <p:nvPr>
            <p:ph type="ctrTitle"/>
          </p:nvPr>
        </p:nvSpPr>
        <p:spPr>
          <a:xfrm>
            <a:off x="2389349" y="152400"/>
            <a:ext cx="5029200" cy="914400"/>
          </a:xfrm>
        </p:spPr>
        <p:txBody>
          <a:bodyPr>
            <a:normAutofit/>
          </a:bodyPr>
          <a:lstStyle/>
          <a:p>
            <a:pPr algn="l"/>
            <a:r>
              <a:rPr lang="zh-TW" altLang="en-US" sz="36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功能說明</a:t>
            </a:r>
            <a:endParaRPr lang="zh-TW" altLang="en-US" sz="32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>
              <a:solidFill>
                <a:prstClr val="black"/>
              </a:solidFill>
            </a:endParaRPr>
          </a:p>
        </p:txBody>
      </p:sp>
      <p:sp>
        <p:nvSpPr>
          <p:cNvPr id="12" name="文字方塊 11"/>
          <p:cNvSpPr txBox="1"/>
          <p:nvPr/>
        </p:nvSpPr>
        <p:spPr>
          <a:xfrm>
            <a:off x="576372" y="1737669"/>
            <a:ext cx="36615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4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Q</a:t>
            </a:r>
            <a:r>
              <a:rPr lang="zh-TW" altLang="en-US" sz="24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如何管理電子書權限</a:t>
            </a:r>
            <a:r>
              <a:rPr lang="en-US" altLang="zh-TW" sz="24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?</a:t>
            </a:r>
            <a:endParaRPr lang="en-US" altLang="zh-TW" sz="24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2050" name="Picture 2" descr="https://i.gyazo.com/3abe70f703f320e9ffecc5d5e9fdb45c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2990620"/>
            <a:ext cx="6705600" cy="3562580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矩形 16"/>
          <p:cNvSpPr/>
          <p:nvPr/>
        </p:nvSpPr>
        <p:spPr>
          <a:xfrm>
            <a:off x="4237952" y="2133600"/>
            <a:ext cx="4753648" cy="1905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TW" altLang="en-US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會員專區的帳號維護頁籤</a:t>
            </a:r>
            <a:r>
              <a:rPr lang="zh-TW" altLang="en-US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可</a:t>
            </a:r>
            <a:r>
              <a:rPr lang="zh-TW" altLang="en-US" b="1" dirty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切換前台預設單位</a:t>
            </a:r>
            <a:r>
              <a:rPr lang="zh-TW" altLang="en-US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zh-TW" altLang="en-US" b="1" dirty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增</a:t>
            </a:r>
            <a:r>
              <a:rPr lang="zh-TW" altLang="en-US" b="1" dirty="0" smtClean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或重新認證</a:t>
            </a:r>
            <a:r>
              <a:rPr lang="zh-TW" altLang="en-US" b="1" dirty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單位電子書</a:t>
            </a:r>
            <a:r>
              <a:rPr lang="zh-TW" altLang="en-US" b="1" dirty="0" smtClean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權限</a:t>
            </a:r>
            <a:r>
              <a:rPr lang="zh-TW" altLang="en-US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  <a:endParaRPr lang="en-US" altLang="zh-TW" b="1" dirty="0" smtClean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en-US" altLang="zh-TW" sz="1600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x</a:t>
            </a:r>
            <a:r>
              <a:rPr lang="zh-TW" altLang="en-US" sz="1600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若您預設為</a:t>
            </a:r>
            <a:r>
              <a:rPr lang="en-US" altLang="zh-TW" sz="1600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</a:t>
            </a:r>
            <a:r>
              <a:rPr lang="zh-TW" altLang="en-US" sz="1600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大學圖書館，但想</a:t>
            </a:r>
            <a:r>
              <a:rPr lang="zh-TW" altLang="en-US" sz="16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瀏覽</a:t>
            </a:r>
            <a:r>
              <a:rPr lang="en-US" altLang="zh-TW" sz="1600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B</a:t>
            </a:r>
            <a:r>
              <a:rPr lang="zh-TW" altLang="en-US" sz="1600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大學圖書館館藏，</a:t>
            </a:r>
            <a:r>
              <a:rPr lang="zh-TW" altLang="en-US" sz="16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可</a:t>
            </a:r>
            <a:r>
              <a:rPr lang="zh-TW" altLang="en-US" sz="1600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「切換預設單位」功能。</a:t>
            </a:r>
            <a:endParaRPr lang="zh-TW" altLang="en-US" sz="16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2971800" y="4870867"/>
            <a:ext cx="3962400" cy="1301333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9" name="Freeform 4777">
            <a:extLst>
              <a:ext uri="{FF2B5EF4-FFF2-40B4-BE49-F238E27FC236}">
                <a16:creationId xmlns="" xmlns:a16="http://schemas.microsoft.com/office/drawing/2014/main" id="{8C2F6FD5-B324-40F5-B07F-DCC3F9F9DA63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536856"/>
            <a:ext cx="396000" cy="288000"/>
          </a:xfrm>
          <a:custGeom>
            <a:avLst/>
            <a:gdLst>
              <a:gd name="T0" fmla="*/ 216 w 902"/>
              <a:gd name="T1" fmla="*/ 331 h 510"/>
              <a:gd name="T2" fmla="*/ 225 w 902"/>
              <a:gd name="T3" fmla="*/ 345 h 510"/>
              <a:gd name="T4" fmla="*/ 216 w 902"/>
              <a:gd name="T5" fmla="*/ 359 h 510"/>
              <a:gd name="T6" fmla="*/ 145 w 902"/>
              <a:gd name="T7" fmla="*/ 359 h 510"/>
              <a:gd name="T8" fmla="*/ 136 w 902"/>
              <a:gd name="T9" fmla="*/ 345 h 510"/>
              <a:gd name="T10" fmla="*/ 145 w 902"/>
              <a:gd name="T11" fmla="*/ 331 h 510"/>
              <a:gd name="T12" fmla="*/ 151 w 902"/>
              <a:gd name="T13" fmla="*/ 209 h 510"/>
              <a:gd name="T14" fmla="*/ 222 w 902"/>
              <a:gd name="T15" fmla="*/ 214 h 510"/>
              <a:gd name="T16" fmla="*/ 224 w 902"/>
              <a:gd name="T17" fmla="*/ 230 h 510"/>
              <a:gd name="T18" fmla="*/ 210 w 902"/>
              <a:gd name="T19" fmla="*/ 239 h 510"/>
              <a:gd name="T20" fmla="*/ 139 w 902"/>
              <a:gd name="T21" fmla="*/ 235 h 510"/>
              <a:gd name="T22" fmla="*/ 137 w 902"/>
              <a:gd name="T23" fmla="*/ 218 h 510"/>
              <a:gd name="T24" fmla="*/ 151 w 902"/>
              <a:gd name="T25" fmla="*/ 209 h 510"/>
              <a:gd name="T26" fmla="*/ 210 w 902"/>
              <a:gd name="T27" fmla="*/ 90 h 510"/>
              <a:gd name="T28" fmla="*/ 224 w 902"/>
              <a:gd name="T29" fmla="*/ 99 h 510"/>
              <a:gd name="T30" fmla="*/ 222 w 902"/>
              <a:gd name="T31" fmla="*/ 115 h 510"/>
              <a:gd name="T32" fmla="*/ 151 w 902"/>
              <a:gd name="T33" fmla="*/ 119 h 510"/>
              <a:gd name="T34" fmla="*/ 137 w 902"/>
              <a:gd name="T35" fmla="*/ 111 h 510"/>
              <a:gd name="T36" fmla="*/ 139 w 902"/>
              <a:gd name="T37" fmla="*/ 93 h 510"/>
              <a:gd name="T38" fmla="*/ 330 w 902"/>
              <a:gd name="T39" fmla="*/ 330 h 510"/>
              <a:gd name="T40" fmla="*/ 732 w 902"/>
              <a:gd name="T41" fmla="*/ 334 h 510"/>
              <a:gd name="T42" fmla="*/ 735 w 902"/>
              <a:gd name="T43" fmla="*/ 350 h 510"/>
              <a:gd name="T44" fmla="*/ 721 w 902"/>
              <a:gd name="T45" fmla="*/ 360 h 510"/>
              <a:gd name="T46" fmla="*/ 320 w 902"/>
              <a:gd name="T47" fmla="*/ 355 h 510"/>
              <a:gd name="T48" fmla="*/ 317 w 902"/>
              <a:gd name="T49" fmla="*/ 339 h 510"/>
              <a:gd name="T50" fmla="*/ 330 w 902"/>
              <a:gd name="T51" fmla="*/ 330 h 510"/>
              <a:gd name="T52" fmla="*/ 721 w 902"/>
              <a:gd name="T53" fmla="*/ 209 h 510"/>
              <a:gd name="T54" fmla="*/ 735 w 902"/>
              <a:gd name="T55" fmla="*/ 218 h 510"/>
              <a:gd name="T56" fmla="*/ 732 w 902"/>
              <a:gd name="T57" fmla="*/ 235 h 510"/>
              <a:gd name="T58" fmla="*/ 330 w 902"/>
              <a:gd name="T59" fmla="*/ 239 h 510"/>
              <a:gd name="T60" fmla="*/ 317 w 902"/>
              <a:gd name="T61" fmla="*/ 230 h 510"/>
              <a:gd name="T62" fmla="*/ 320 w 902"/>
              <a:gd name="T63" fmla="*/ 214 h 510"/>
              <a:gd name="T64" fmla="*/ 330 w 902"/>
              <a:gd name="T65" fmla="*/ 209 h 510"/>
              <a:gd name="T66" fmla="*/ 727 w 902"/>
              <a:gd name="T67" fmla="*/ 91 h 510"/>
              <a:gd name="T68" fmla="*/ 736 w 902"/>
              <a:gd name="T69" fmla="*/ 105 h 510"/>
              <a:gd name="T70" fmla="*/ 727 w 902"/>
              <a:gd name="T71" fmla="*/ 118 h 510"/>
              <a:gd name="T72" fmla="*/ 325 w 902"/>
              <a:gd name="T73" fmla="*/ 118 h 510"/>
              <a:gd name="T74" fmla="*/ 315 w 902"/>
              <a:gd name="T75" fmla="*/ 105 h 510"/>
              <a:gd name="T76" fmla="*/ 325 w 902"/>
              <a:gd name="T77" fmla="*/ 91 h 510"/>
              <a:gd name="T78" fmla="*/ 2 w 902"/>
              <a:gd name="T79" fmla="*/ 501 h 510"/>
              <a:gd name="T80" fmla="*/ 15 w 902"/>
              <a:gd name="T81" fmla="*/ 510 h 510"/>
              <a:gd name="T82" fmla="*/ 897 w 902"/>
              <a:gd name="T83" fmla="*/ 506 h 510"/>
              <a:gd name="T84" fmla="*/ 902 w 902"/>
              <a:gd name="T85" fmla="*/ 0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02" h="510">
                <a:moveTo>
                  <a:pt x="151" y="330"/>
                </a:moveTo>
                <a:lnTo>
                  <a:pt x="210" y="330"/>
                </a:lnTo>
                <a:lnTo>
                  <a:pt x="216" y="331"/>
                </a:lnTo>
                <a:lnTo>
                  <a:pt x="222" y="334"/>
                </a:lnTo>
                <a:lnTo>
                  <a:pt x="224" y="339"/>
                </a:lnTo>
                <a:lnTo>
                  <a:pt x="225" y="345"/>
                </a:lnTo>
                <a:lnTo>
                  <a:pt x="224" y="350"/>
                </a:lnTo>
                <a:lnTo>
                  <a:pt x="222" y="355"/>
                </a:lnTo>
                <a:lnTo>
                  <a:pt x="216" y="359"/>
                </a:lnTo>
                <a:lnTo>
                  <a:pt x="210" y="360"/>
                </a:lnTo>
                <a:lnTo>
                  <a:pt x="151" y="360"/>
                </a:lnTo>
                <a:lnTo>
                  <a:pt x="145" y="359"/>
                </a:lnTo>
                <a:lnTo>
                  <a:pt x="139" y="355"/>
                </a:lnTo>
                <a:lnTo>
                  <a:pt x="137" y="350"/>
                </a:lnTo>
                <a:lnTo>
                  <a:pt x="136" y="345"/>
                </a:lnTo>
                <a:lnTo>
                  <a:pt x="137" y="339"/>
                </a:lnTo>
                <a:lnTo>
                  <a:pt x="139" y="334"/>
                </a:lnTo>
                <a:lnTo>
                  <a:pt x="145" y="331"/>
                </a:lnTo>
                <a:lnTo>
                  <a:pt x="151" y="330"/>
                </a:lnTo>
                <a:lnTo>
                  <a:pt x="151" y="330"/>
                </a:lnTo>
                <a:close/>
                <a:moveTo>
                  <a:pt x="151" y="209"/>
                </a:moveTo>
                <a:lnTo>
                  <a:pt x="210" y="209"/>
                </a:lnTo>
                <a:lnTo>
                  <a:pt x="216" y="210"/>
                </a:lnTo>
                <a:lnTo>
                  <a:pt x="222" y="214"/>
                </a:lnTo>
                <a:lnTo>
                  <a:pt x="224" y="218"/>
                </a:lnTo>
                <a:lnTo>
                  <a:pt x="225" y="224"/>
                </a:lnTo>
                <a:lnTo>
                  <a:pt x="224" y="230"/>
                </a:lnTo>
                <a:lnTo>
                  <a:pt x="222" y="235"/>
                </a:lnTo>
                <a:lnTo>
                  <a:pt x="216" y="238"/>
                </a:lnTo>
                <a:lnTo>
                  <a:pt x="210" y="239"/>
                </a:lnTo>
                <a:lnTo>
                  <a:pt x="151" y="239"/>
                </a:lnTo>
                <a:lnTo>
                  <a:pt x="145" y="238"/>
                </a:lnTo>
                <a:lnTo>
                  <a:pt x="139" y="235"/>
                </a:lnTo>
                <a:lnTo>
                  <a:pt x="137" y="230"/>
                </a:lnTo>
                <a:lnTo>
                  <a:pt x="136" y="224"/>
                </a:lnTo>
                <a:lnTo>
                  <a:pt x="137" y="218"/>
                </a:lnTo>
                <a:lnTo>
                  <a:pt x="139" y="214"/>
                </a:lnTo>
                <a:lnTo>
                  <a:pt x="145" y="210"/>
                </a:lnTo>
                <a:lnTo>
                  <a:pt x="151" y="209"/>
                </a:lnTo>
                <a:lnTo>
                  <a:pt x="151" y="209"/>
                </a:lnTo>
                <a:close/>
                <a:moveTo>
                  <a:pt x="151" y="90"/>
                </a:moveTo>
                <a:lnTo>
                  <a:pt x="210" y="90"/>
                </a:lnTo>
                <a:lnTo>
                  <a:pt x="216" y="91"/>
                </a:lnTo>
                <a:lnTo>
                  <a:pt x="222" y="93"/>
                </a:lnTo>
                <a:lnTo>
                  <a:pt x="224" y="99"/>
                </a:lnTo>
                <a:lnTo>
                  <a:pt x="225" y="105"/>
                </a:lnTo>
                <a:lnTo>
                  <a:pt x="224" y="111"/>
                </a:lnTo>
                <a:lnTo>
                  <a:pt x="222" y="115"/>
                </a:lnTo>
                <a:lnTo>
                  <a:pt x="216" y="118"/>
                </a:lnTo>
                <a:lnTo>
                  <a:pt x="210" y="120"/>
                </a:lnTo>
                <a:lnTo>
                  <a:pt x="151" y="119"/>
                </a:lnTo>
                <a:lnTo>
                  <a:pt x="145" y="118"/>
                </a:lnTo>
                <a:lnTo>
                  <a:pt x="139" y="115"/>
                </a:lnTo>
                <a:lnTo>
                  <a:pt x="137" y="111"/>
                </a:lnTo>
                <a:lnTo>
                  <a:pt x="136" y="105"/>
                </a:lnTo>
                <a:lnTo>
                  <a:pt x="137" y="99"/>
                </a:lnTo>
                <a:lnTo>
                  <a:pt x="139" y="93"/>
                </a:lnTo>
                <a:lnTo>
                  <a:pt x="145" y="91"/>
                </a:lnTo>
                <a:lnTo>
                  <a:pt x="151" y="90"/>
                </a:lnTo>
                <a:close/>
                <a:moveTo>
                  <a:pt x="330" y="330"/>
                </a:moveTo>
                <a:lnTo>
                  <a:pt x="721" y="330"/>
                </a:lnTo>
                <a:lnTo>
                  <a:pt x="727" y="331"/>
                </a:lnTo>
                <a:lnTo>
                  <a:pt x="732" y="334"/>
                </a:lnTo>
                <a:lnTo>
                  <a:pt x="735" y="339"/>
                </a:lnTo>
                <a:lnTo>
                  <a:pt x="736" y="345"/>
                </a:lnTo>
                <a:lnTo>
                  <a:pt x="735" y="350"/>
                </a:lnTo>
                <a:lnTo>
                  <a:pt x="732" y="355"/>
                </a:lnTo>
                <a:lnTo>
                  <a:pt x="727" y="359"/>
                </a:lnTo>
                <a:lnTo>
                  <a:pt x="721" y="360"/>
                </a:lnTo>
                <a:lnTo>
                  <a:pt x="330" y="360"/>
                </a:lnTo>
                <a:lnTo>
                  <a:pt x="325" y="359"/>
                </a:lnTo>
                <a:lnTo>
                  <a:pt x="320" y="355"/>
                </a:lnTo>
                <a:lnTo>
                  <a:pt x="317" y="350"/>
                </a:lnTo>
                <a:lnTo>
                  <a:pt x="315" y="345"/>
                </a:lnTo>
                <a:lnTo>
                  <a:pt x="317" y="339"/>
                </a:lnTo>
                <a:lnTo>
                  <a:pt x="320" y="334"/>
                </a:lnTo>
                <a:lnTo>
                  <a:pt x="325" y="331"/>
                </a:lnTo>
                <a:lnTo>
                  <a:pt x="330" y="330"/>
                </a:lnTo>
                <a:lnTo>
                  <a:pt x="330" y="330"/>
                </a:lnTo>
                <a:close/>
                <a:moveTo>
                  <a:pt x="330" y="209"/>
                </a:moveTo>
                <a:lnTo>
                  <a:pt x="721" y="209"/>
                </a:lnTo>
                <a:lnTo>
                  <a:pt x="727" y="210"/>
                </a:lnTo>
                <a:lnTo>
                  <a:pt x="732" y="214"/>
                </a:lnTo>
                <a:lnTo>
                  <a:pt x="735" y="218"/>
                </a:lnTo>
                <a:lnTo>
                  <a:pt x="736" y="224"/>
                </a:lnTo>
                <a:lnTo>
                  <a:pt x="735" y="230"/>
                </a:lnTo>
                <a:lnTo>
                  <a:pt x="732" y="235"/>
                </a:lnTo>
                <a:lnTo>
                  <a:pt x="727" y="238"/>
                </a:lnTo>
                <a:lnTo>
                  <a:pt x="721" y="239"/>
                </a:lnTo>
                <a:lnTo>
                  <a:pt x="330" y="239"/>
                </a:lnTo>
                <a:lnTo>
                  <a:pt x="325" y="238"/>
                </a:lnTo>
                <a:lnTo>
                  <a:pt x="320" y="235"/>
                </a:lnTo>
                <a:lnTo>
                  <a:pt x="317" y="230"/>
                </a:lnTo>
                <a:lnTo>
                  <a:pt x="315" y="224"/>
                </a:lnTo>
                <a:lnTo>
                  <a:pt x="317" y="218"/>
                </a:lnTo>
                <a:lnTo>
                  <a:pt x="320" y="214"/>
                </a:lnTo>
                <a:lnTo>
                  <a:pt x="325" y="210"/>
                </a:lnTo>
                <a:lnTo>
                  <a:pt x="330" y="209"/>
                </a:lnTo>
                <a:lnTo>
                  <a:pt x="330" y="209"/>
                </a:lnTo>
                <a:close/>
                <a:moveTo>
                  <a:pt x="330" y="90"/>
                </a:moveTo>
                <a:lnTo>
                  <a:pt x="721" y="90"/>
                </a:lnTo>
                <a:lnTo>
                  <a:pt x="727" y="91"/>
                </a:lnTo>
                <a:lnTo>
                  <a:pt x="732" y="93"/>
                </a:lnTo>
                <a:lnTo>
                  <a:pt x="735" y="99"/>
                </a:lnTo>
                <a:lnTo>
                  <a:pt x="736" y="105"/>
                </a:lnTo>
                <a:lnTo>
                  <a:pt x="735" y="111"/>
                </a:lnTo>
                <a:lnTo>
                  <a:pt x="732" y="115"/>
                </a:lnTo>
                <a:lnTo>
                  <a:pt x="727" y="118"/>
                </a:lnTo>
                <a:lnTo>
                  <a:pt x="721" y="120"/>
                </a:lnTo>
                <a:lnTo>
                  <a:pt x="330" y="119"/>
                </a:lnTo>
                <a:lnTo>
                  <a:pt x="325" y="118"/>
                </a:lnTo>
                <a:lnTo>
                  <a:pt x="320" y="115"/>
                </a:lnTo>
                <a:lnTo>
                  <a:pt x="317" y="111"/>
                </a:lnTo>
                <a:lnTo>
                  <a:pt x="315" y="105"/>
                </a:lnTo>
                <a:lnTo>
                  <a:pt x="317" y="99"/>
                </a:lnTo>
                <a:lnTo>
                  <a:pt x="320" y="93"/>
                </a:lnTo>
                <a:lnTo>
                  <a:pt x="325" y="91"/>
                </a:lnTo>
                <a:lnTo>
                  <a:pt x="330" y="90"/>
                </a:lnTo>
                <a:close/>
                <a:moveTo>
                  <a:pt x="0" y="495"/>
                </a:moveTo>
                <a:lnTo>
                  <a:pt x="2" y="501"/>
                </a:lnTo>
                <a:lnTo>
                  <a:pt x="5" y="506"/>
                </a:lnTo>
                <a:lnTo>
                  <a:pt x="10" y="509"/>
                </a:lnTo>
                <a:lnTo>
                  <a:pt x="15" y="510"/>
                </a:lnTo>
                <a:lnTo>
                  <a:pt x="886" y="510"/>
                </a:lnTo>
                <a:lnTo>
                  <a:pt x="892" y="509"/>
                </a:lnTo>
                <a:lnTo>
                  <a:pt x="897" y="506"/>
                </a:lnTo>
                <a:lnTo>
                  <a:pt x="900" y="501"/>
                </a:lnTo>
                <a:lnTo>
                  <a:pt x="902" y="495"/>
                </a:lnTo>
                <a:lnTo>
                  <a:pt x="902" y="0"/>
                </a:lnTo>
                <a:lnTo>
                  <a:pt x="0" y="0"/>
                </a:lnTo>
                <a:lnTo>
                  <a:pt x="0" y="4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/>
          </a:p>
        </p:txBody>
      </p:sp>
      <p:sp>
        <p:nvSpPr>
          <p:cNvPr id="20" name="Freeform 4776">
            <a:extLst>
              <a:ext uri="{FF2B5EF4-FFF2-40B4-BE49-F238E27FC236}">
                <a16:creationId xmlns="" xmlns:a16="http://schemas.microsoft.com/office/drawing/2014/main" id="{C8092ED1-DF13-4A88-9140-B942AF4CC42C}"/>
              </a:ext>
            </a:extLst>
          </p:cNvPr>
          <p:cNvSpPr>
            <a:spLocks noEditPoints="1"/>
          </p:cNvSpPr>
          <p:nvPr/>
        </p:nvSpPr>
        <p:spPr bwMode="auto">
          <a:xfrm>
            <a:off x="1701896" y="424036"/>
            <a:ext cx="396000" cy="72000"/>
          </a:xfrm>
          <a:custGeom>
            <a:avLst/>
            <a:gdLst>
              <a:gd name="T0" fmla="*/ 745 w 902"/>
              <a:gd name="T1" fmla="*/ 149 h 210"/>
              <a:gd name="T2" fmla="*/ 735 w 902"/>
              <a:gd name="T3" fmla="*/ 144 h 210"/>
              <a:gd name="T4" fmla="*/ 727 w 902"/>
              <a:gd name="T5" fmla="*/ 136 h 210"/>
              <a:gd name="T6" fmla="*/ 722 w 902"/>
              <a:gd name="T7" fmla="*/ 126 h 210"/>
              <a:gd name="T8" fmla="*/ 722 w 902"/>
              <a:gd name="T9" fmla="*/ 114 h 210"/>
              <a:gd name="T10" fmla="*/ 727 w 902"/>
              <a:gd name="T11" fmla="*/ 104 h 210"/>
              <a:gd name="T12" fmla="*/ 735 w 902"/>
              <a:gd name="T13" fmla="*/ 96 h 210"/>
              <a:gd name="T14" fmla="*/ 745 w 902"/>
              <a:gd name="T15" fmla="*/ 91 h 210"/>
              <a:gd name="T16" fmla="*/ 758 w 902"/>
              <a:gd name="T17" fmla="*/ 91 h 210"/>
              <a:gd name="T18" fmla="*/ 768 w 902"/>
              <a:gd name="T19" fmla="*/ 96 h 210"/>
              <a:gd name="T20" fmla="*/ 776 w 902"/>
              <a:gd name="T21" fmla="*/ 104 h 210"/>
              <a:gd name="T22" fmla="*/ 781 w 902"/>
              <a:gd name="T23" fmla="*/ 114 h 210"/>
              <a:gd name="T24" fmla="*/ 781 w 902"/>
              <a:gd name="T25" fmla="*/ 126 h 210"/>
              <a:gd name="T26" fmla="*/ 776 w 902"/>
              <a:gd name="T27" fmla="*/ 136 h 210"/>
              <a:gd name="T28" fmla="*/ 768 w 902"/>
              <a:gd name="T29" fmla="*/ 144 h 210"/>
              <a:gd name="T30" fmla="*/ 757 w 902"/>
              <a:gd name="T31" fmla="*/ 149 h 210"/>
              <a:gd name="T32" fmla="*/ 751 w 902"/>
              <a:gd name="T33" fmla="*/ 150 h 210"/>
              <a:gd name="T34" fmla="*/ 625 w 902"/>
              <a:gd name="T35" fmla="*/ 149 h 210"/>
              <a:gd name="T36" fmla="*/ 614 w 902"/>
              <a:gd name="T37" fmla="*/ 144 h 210"/>
              <a:gd name="T38" fmla="*/ 606 w 902"/>
              <a:gd name="T39" fmla="*/ 136 h 210"/>
              <a:gd name="T40" fmla="*/ 602 w 902"/>
              <a:gd name="T41" fmla="*/ 126 h 210"/>
              <a:gd name="T42" fmla="*/ 602 w 902"/>
              <a:gd name="T43" fmla="*/ 114 h 210"/>
              <a:gd name="T44" fmla="*/ 606 w 902"/>
              <a:gd name="T45" fmla="*/ 104 h 210"/>
              <a:gd name="T46" fmla="*/ 614 w 902"/>
              <a:gd name="T47" fmla="*/ 96 h 210"/>
              <a:gd name="T48" fmla="*/ 625 w 902"/>
              <a:gd name="T49" fmla="*/ 91 h 210"/>
              <a:gd name="T50" fmla="*/ 637 w 902"/>
              <a:gd name="T51" fmla="*/ 91 h 210"/>
              <a:gd name="T52" fmla="*/ 648 w 902"/>
              <a:gd name="T53" fmla="*/ 96 h 210"/>
              <a:gd name="T54" fmla="*/ 656 w 902"/>
              <a:gd name="T55" fmla="*/ 104 h 210"/>
              <a:gd name="T56" fmla="*/ 661 w 902"/>
              <a:gd name="T57" fmla="*/ 114 h 210"/>
              <a:gd name="T58" fmla="*/ 661 w 902"/>
              <a:gd name="T59" fmla="*/ 126 h 210"/>
              <a:gd name="T60" fmla="*/ 656 w 902"/>
              <a:gd name="T61" fmla="*/ 136 h 210"/>
              <a:gd name="T62" fmla="*/ 648 w 902"/>
              <a:gd name="T63" fmla="*/ 144 h 210"/>
              <a:gd name="T64" fmla="*/ 637 w 902"/>
              <a:gd name="T65" fmla="*/ 149 h 210"/>
              <a:gd name="T66" fmla="*/ 632 w 902"/>
              <a:gd name="T67" fmla="*/ 150 h 210"/>
              <a:gd name="T68" fmla="*/ 505 w 902"/>
              <a:gd name="T69" fmla="*/ 149 h 210"/>
              <a:gd name="T70" fmla="*/ 494 w 902"/>
              <a:gd name="T71" fmla="*/ 144 h 210"/>
              <a:gd name="T72" fmla="*/ 486 w 902"/>
              <a:gd name="T73" fmla="*/ 136 h 210"/>
              <a:gd name="T74" fmla="*/ 481 w 902"/>
              <a:gd name="T75" fmla="*/ 126 h 210"/>
              <a:gd name="T76" fmla="*/ 481 w 902"/>
              <a:gd name="T77" fmla="*/ 114 h 210"/>
              <a:gd name="T78" fmla="*/ 486 w 902"/>
              <a:gd name="T79" fmla="*/ 104 h 210"/>
              <a:gd name="T80" fmla="*/ 494 w 902"/>
              <a:gd name="T81" fmla="*/ 96 h 210"/>
              <a:gd name="T82" fmla="*/ 505 w 902"/>
              <a:gd name="T83" fmla="*/ 91 h 210"/>
              <a:gd name="T84" fmla="*/ 517 w 902"/>
              <a:gd name="T85" fmla="*/ 91 h 210"/>
              <a:gd name="T86" fmla="*/ 527 w 902"/>
              <a:gd name="T87" fmla="*/ 96 h 210"/>
              <a:gd name="T88" fmla="*/ 535 w 902"/>
              <a:gd name="T89" fmla="*/ 104 h 210"/>
              <a:gd name="T90" fmla="*/ 540 w 902"/>
              <a:gd name="T91" fmla="*/ 114 h 210"/>
              <a:gd name="T92" fmla="*/ 540 w 902"/>
              <a:gd name="T93" fmla="*/ 126 h 210"/>
              <a:gd name="T94" fmla="*/ 535 w 902"/>
              <a:gd name="T95" fmla="*/ 136 h 210"/>
              <a:gd name="T96" fmla="*/ 527 w 902"/>
              <a:gd name="T97" fmla="*/ 144 h 210"/>
              <a:gd name="T98" fmla="*/ 517 w 902"/>
              <a:gd name="T99" fmla="*/ 149 h 210"/>
              <a:gd name="T100" fmla="*/ 511 w 902"/>
              <a:gd name="T101" fmla="*/ 150 h 210"/>
              <a:gd name="T102" fmla="*/ 15 w 902"/>
              <a:gd name="T103" fmla="*/ 0 h 210"/>
              <a:gd name="T104" fmla="*/ 5 w 902"/>
              <a:gd name="T105" fmla="*/ 4 h 210"/>
              <a:gd name="T106" fmla="*/ 0 w 902"/>
              <a:gd name="T107" fmla="*/ 15 h 210"/>
              <a:gd name="T108" fmla="*/ 902 w 902"/>
              <a:gd name="T109" fmla="*/ 210 h 210"/>
              <a:gd name="T110" fmla="*/ 900 w 902"/>
              <a:gd name="T111" fmla="*/ 9 h 210"/>
              <a:gd name="T112" fmla="*/ 892 w 902"/>
              <a:gd name="T113" fmla="*/ 1 h 210"/>
              <a:gd name="T114" fmla="*/ 886 w 902"/>
              <a:gd name="T115" fmla="*/ 0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02" h="210">
                <a:moveTo>
                  <a:pt x="751" y="150"/>
                </a:moveTo>
                <a:lnTo>
                  <a:pt x="745" y="149"/>
                </a:lnTo>
                <a:lnTo>
                  <a:pt x="739" y="148"/>
                </a:lnTo>
                <a:lnTo>
                  <a:pt x="735" y="144"/>
                </a:lnTo>
                <a:lnTo>
                  <a:pt x="730" y="141"/>
                </a:lnTo>
                <a:lnTo>
                  <a:pt x="727" y="136"/>
                </a:lnTo>
                <a:lnTo>
                  <a:pt x="723" y="132"/>
                </a:lnTo>
                <a:lnTo>
                  <a:pt x="722" y="126"/>
                </a:lnTo>
                <a:lnTo>
                  <a:pt x="721" y="120"/>
                </a:lnTo>
                <a:lnTo>
                  <a:pt x="722" y="114"/>
                </a:lnTo>
                <a:lnTo>
                  <a:pt x="723" y="109"/>
                </a:lnTo>
                <a:lnTo>
                  <a:pt x="727" y="104"/>
                </a:lnTo>
                <a:lnTo>
                  <a:pt x="730" y="99"/>
                </a:lnTo>
                <a:lnTo>
                  <a:pt x="735" y="96"/>
                </a:lnTo>
                <a:lnTo>
                  <a:pt x="739" y="92"/>
                </a:lnTo>
                <a:lnTo>
                  <a:pt x="745" y="91"/>
                </a:lnTo>
                <a:lnTo>
                  <a:pt x="751" y="90"/>
                </a:lnTo>
                <a:lnTo>
                  <a:pt x="758" y="91"/>
                </a:lnTo>
                <a:lnTo>
                  <a:pt x="763" y="92"/>
                </a:lnTo>
                <a:lnTo>
                  <a:pt x="768" y="96"/>
                </a:lnTo>
                <a:lnTo>
                  <a:pt x="773" y="99"/>
                </a:lnTo>
                <a:lnTo>
                  <a:pt x="776" y="104"/>
                </a:lnTo>
                <a:lnTo>
                  <a:pt x="779" y="109"/>
                </a:lnTo>
                <a:lnTo>
                  <a:pt x="781" y="114"/>
                </a:lnTo>
                <a:lnTo>
                  <a:pt x="781" y="120"/>
                </a:lnTo>
                <a:lnTo>
                  <a:pt x="781" y="126"/>
                </a:lnTo>
                <a:lnTo>
                  <a:pt x="779" y="132"/>
                </a:lnTo>
                <a:lnTo>
                  <a:pt x="776" y="136"/>
                </a:lnTo>
                <a:lnTo>
                  <a:pt x="773" y="141"/>
                </a:lnTo>
                <a:lnTo>
                  <a:pt x="768" y="144"/>
                </a:lnTo>
                <a:lnTo>
                  <a:pt x="763" y="148"/>
                </a:lnTo>
                <a:lnTo>
                  <a:pt x="757" y="149"/>
                </a:lnTo>
                <a:lnTo>
                  <a:pt x="751" y="150"/>
                </a:lnTo>
                <a:lnTo>
                  <a:pt x="751" y="150"/>
                </a:lnTo>
                <a:close/>
                <a:moveTo>
                  <a:pt x="632" y="150"/>
                </a:moveTo>
                <a:lnTo>
                  <a:pt x="625" y="149"/>
                </a:lnTo>
                <a:lnTo>
                  <a:pt x="619" y="148"/>
                </a:lnTo>
                <a:lnTo>
                  <a:pt x="614" y="144"/>
                </a:lnTo>
                <a:lnTo>
                  <a:pt x="610" y="141"/>
                </a:lnTo>
                <a:lnTo>
                  <a:pt x="606" y="136"/>
                </a:lnTo>
                <a:lnTo>
                  <a:pt x="604" y="132"/>
                </a:lnTo>
                <a:lnTo>
                  <a:pt x="602" y="126"/>
                </a:lnTo>
                <a:lnTo>
                  <a:pt x="602" y="120"/>
                </a:lnTo>
                <a:lnTo>
                  <a:pt x="602" y="114"/>
                </a:lnTo>
                <a:lnTo>
                  <a:pt x="604" y="109"/>
                </a:lnTo>
                <a:lnTo>
                  <a:pt x="606" y="104"/>
                </a:lnTo>
                <a:lnTo>
                  <a:pt x="610" y="99"/>
                </a:lnTo>
                <a:lnTo>
                  <a:pt x="614" y="96"/>
                </a:lnTo>
                <a:lnTo>
                  <a:pt x="619" y="92"/>
                </a:lnTo>
                <a:lnTo>
                  <a:pt x="625" y="91"/>
                </a:lnTo>
                <a:lnTo>
                  <a:pt x="632" y="90"/>
                </a:lnTo>
                <a:lnTo>
                  <a:pt x="637" y="91"/>
                </a:lnTo>
                <a:lnTo>
                  <a:pt x="643" y="92"/>
                </a:lnTo>
                <a:lnTo>
                  <a:pt x="648" y="96"/>
                </a:lnTo>
                <a:lnTo>
                  <a:pt x="652" y="99"/>
                </a:lnTo>
                <a:lnTo>
                  <a:pt x="656" y="104"/>
                </a:lnTo>
                <a:lnTo>
                  <a:pt x="658" y="109"/>
                </a:lnTo>
                <a:lnTo>
                  <a:pt x="661" y="114"/>
                </a:lnTo>
                <a:lnTo>
                  <a:pt x="661" y="120"/>
                </a:lnTo>
                <a:lnTo>
                  <a:pt x="661" y="126"/>
                </a:lnTo>
                <a:lnTo>
                  <a:pt x="658" y="132"/>
                </a:lnTo>
                <a:lnTo>
                  <a:pt x="656" y="136"/>
                </a:lnTo>
                <a:lnTo>
                  <a:pt x="652" y="141"/>
                </a:lnTo>
                <a:lnTo>
                  <a:pt x="648" y="144"/>
                </a:lnTo>
                <a:lnTo>
                  <a:pt x="643" y="148"/>
                </a:lnTo>
                <a:lnTo>
                  <a:pt x="637" y="149"/>
                </a:lnTo>
                <a:lnTo>
                  <a:pt x="632" y="150"/>
                </a:lnTo>
                <a:lnTo>
                  <a:pt x="632" y="150"/>
                </a:lnTo>
                <a:close/>
                <a:moveTo>
                  <a:pt x="511" y="150"/>
                </a:moveTo>
                <a:lnTo>
                  <a:pt x="505" y="149"/>
                </a:lnTo>
                <a:lnTo>
                  <a:pt x="500" y="148"/>
                </a:lnTo>
                <a:lnTo>
                  <a:pt x="494" y="144"/>
                </a:lnTo>
                <a:lnTo>
                  <a:pt x="489" y="141"/>
                </a:lnTo>
                <a:lnTo>
                  <a:pt x="486" y="136"/>
                </a:lnTo>
                <a:lnTo>
                  <a:pt x="483" y="132"/>
                </a:lnTo>
                <a:lnTo>
                  <a:pt x="481" y="126"/>
                </a:lnTo>
                <a:lnTo>
                  <a:pt x="481" y="120"/>
                </a:lnTo>
                <a:lnTo>
                  <a:pt x="481" y="114"/>
                </a:lnTo>
                <a:lnTo>
                  <a:pt x="483" y="109"/>
                </a:lnTo>
                <a:lnTo>
                  <a:pt x="486" y="104"/>
                </a:lnTo>
                <a:lnTo>
                  <a:pt x="489" y="99"/>
                </a:lnTo>
                <a:lnTo>
                  <a:pt x="494" y="96"/>
                </a:lnTo>
                <a:lnTo>
                  <a:pt x="500" y="92"/>
                </a:lnTo>
                <a:lnTo>
                  <a:pt x="505" y="91"/>
                </a:lnTo>
                <a:lnTo>
                  <a:pt x="511" y="90"/>
                </a:lnTo>
                <a:lnTo>
                  <a:pt x="517" y="91"/>
                </a:lnTo>
                <a:lnTo>
                  <a:pt x="523" y="92"/>
                </a:lnTo>
                <a:lnTo>
                  <a:pt x="527" y="96"/>
                </a:lnTo>
                <a:lnTo>
                  <a:pt x="532" y="99"/>
                </a:lnTo>
                <a:lnTo>
                  <a:pt x="535" y="104"/>
                </a:lnTo>
                <a:lnTo>
                  <a:pt x="539" y="109"/>
                </a:lnTo>
                <a:lnTo>
                  <a:pt x="540" y="114"/>
                </a:lnTo>
                <a:lnTo>
                  <a:pt x="541" y="120"/>
                </a:lnTo>
                <a:lnTo>
                  <a:pt x="540" y="126"/>
                </a:lnTo>
                <a:lnTo>
                  <a:pt x="539" y="132"/>
                </a:lnTo>
                <a:lnTo>
                  <a:pt x="535" y="136"/>
                </a:lnTo>
                <a:lnTo>
                  <a:pt x="532" y="141"/>
                </a:lnTo>
                <a:lnTo>
                  <a:pt x="527" y="144"/>
                </a:lnTo>
                <a:lnTo>
                  <a:pt x="523" y="148"/>
                </a:lnTo>
                <a:lnTo>
                  <a:pt x="517" y="149"/>
                </a:lnTo>
                <a:lnTo>
                  <a:pt x="511" y="150"/>
                </a:lnTo>
                <a:lnTo>
                  <a:pt x="511" y="150"/>
                </a:lnTo>
                <a:close/>
                <a:moveTo>
                  <a:pt x="886" y="0"/>
                </a:moveTo>
                <a:lnTo>
                  <a:pt x="15" y="0"/>
                </a:lnTo>
                <a:lnTo>
                  <a:pt x="10" y="1"/>
                </a:lnTo>
                <a:lnTo>
                  <a:pt x="5" y="4"/>
                </a:lnTo>
                <a:lnTo>
                  <a:pt x="2" y="9"/>
                </a:lnTo>
                <a:lnTo>
                  <a:pt x="0" y="15"/>
                </a:lnTo>
                <a:lnTo>
                  <a:pt x="0" y="210"/>
                </a:lnTo>
                <a:lnTo>
                  <a:pt x="902" y="210"/>
                </a:lnTo>
                <a:lnTo>
                  <a:pt x="902" y="15"/>
                </a:lnTo>
                <a:lnTo>
                  <a:pt x="900" y="9"/>
                </a:lnTo>
                <a:lnTo>
                  <a:pt x="897" y="4"/>
                </a:lnTo>
                <a:lnTo>
                  <a:pt x="892" y="1"/>
                </a:lnTo>
                <a:lnTo>
                  <a:pt x="886" y="0"/>
                </a:lnTo>
                <a:lnTo>
                  <a:pt x="88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8603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0" y="1524000"/>
            <a:ext cx="9144000" cy="532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7" name="文字方塊 6"/>
          <p:cNvSpPr txBox="1"/>
          <p:nvPr/>
        </p:nvSpPr>
        <p:spPr>
          <a:xfrm>
            <a:off x="4241608" y="466635"/>
            <a:ext cx="338586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20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支援多載具線上、離線閱讀</a:t>
            </a:r>
            <a:r>
              <a:rPr lang="en-US" altLang="zh-TW" sz="20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!</a:t>
            </a:r>
            <a:endParaRPr lang="zh-TW" altLang="en-US" sz="20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/>
          </a:p>
        </p:txBody>
      </p:sp>
      <p:cxnSp>
        <p:nvCxnSpPr>
          <p:cNvPr id="10" name="直線接點 9"/>
          <p:cNvCxnSpPr/>
          <p:nvPr/>
        </p:nvCxnSpPr>
        <p:spPr>
          <a:xfrm>
            <a:off x="0" y="1524000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90600" y="175817"/>
            <a:ext cx="3886200" cy="985855"/>
          </a:xfrm>
        </p:spPr>
        <p:txBody>
          <a:bodyPr>
            <a:normAutofit/>
          </a:bodyPr>
          <a:lstStyle/>
          <a:p>
            <a:r>
              <a:rPr lang="zh-TW" altLang="en-US" sz="40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閱讀方式</a:t>
            </a:r>
          </a:p>
        </p:txBody>
      </p:sp>
      <p:pic>
        <p:nvPicPr>
          <p:cNvPr id="2050" name="Picture 2" descr="https://i.gyazo.com/65dc00d3d97f351d5b8e3d71cd1cc0bc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900" y="1543051"/>
            <a:ext cx="6907281" cy="5308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587"/>
          <p:cNvSpPr/>
          <p:nvPr/>
        </p:nvSpPr>
        <p:spPr>
          <a:xfrm>
            <a:off x="1204200" y="470745"/>
            <a:ext cx="396000" cy="396000"/>
          </a:xfrm>
          <a:custGeom>
            <a:avLst/>
            <a:gdLst>
              <a:gd name="connsiteX0" fmla="*/ 322160 w 496139"/>
              <a:gd name="connsiteY0" fmla="*/ 151560 h 505095"/>
              <a:gd name="connsiteX1" fmla="*/ 365261 w 496139"/>
              <a:gd name="connsiteY1" fmla="*/ 168181 h 505095"/>
              <a:gd name="connsiteX2" fmla="*/ 383008 w 496139"/>
              <a:gd name="connsiteY2" fmla="*/ 208466 h 505095"/>
              <a:gd name="connsiteX3" fmla="*/ 365261 w 496139"/>
              <a:gd name="connsiteY3" fmla="*/ 248610 h 505095"/>
              <a:gd name="connsiteX4" fmla="*/ 322160 w 496139"/>
              <a:gd name="connsiteY4" fmla="*/ 265371 h 505095"/>
              <a:gd name="connsiteX5" fmla="*/ 279199 w 496139"/>
              <a:gd name="connsiteY5" fmla="*/ 248610 h 505095"/>
              <a:gd name="connsiteX6" fmla="*/ 261310 w 496139"/>
              <a:gd name="connsiteY6" fmla="*/ 208466 h 505095"/>
              <a:gd name="connsiteX7" fmla="*/ 279199 w 496139"/>
              <a:gd name="connsiteY7" fmla="*/ 168181 h 505095"/>
              <a:gd name="connsiteX8" fmla="*/ 322160 w 496139"/>
              <a:gd name="connsiteY8" fmla="*/ 151560 h 505095"/>
              <a:gd name="connsiteX9" fmla="*/ 180742 w 496139"/>
              <a:gd name="connsiteY9" fmla="*/ 151560 h 505095"/>
              <a:gd name="connsiteX10" fmla="*/ 223703 w 496139"/>
              <a:gd name="connsiteY10" fmla="*/ 168181 h 505095"/>
              <a:gd name="connsiteX11" fmla="*/ 241591 w 496139"/>
              <a:gd name="connsiteY11" fmla="*/ 208466 h 505095"/>
              <a:gd name="connsiteX12" fmla="*/ 223703 w 496139"/>
              <a:gd name="connsiteY12" fmla="*/ 248610 h 505095"/>
              <a:gd name="connsiteX13" fmla="*/ 180742 w 496139"/>
              <a:gd name="connsiteY13" fmla="*/ 265371 h 505095"/>
              <a:gd name="connsiteX14" fmla="*/ 137781 w 496139"/>
              <a:gd name="connsiteY14" fmla="*/ 248610 h 505095"/>
              <a:gd name="connsiteX15" fmla="*/ 119892 w 496139"/>
              <a:gd name="connsiteY15" fmla="*/ 208466 h 505095"/>
              <a:gd name="connsiteX16" fmla="*/ 137781 w 496139"/>
              <a:gd name="connsiteY16" fmla="*/ 168181 h 505095"/>
              <a:gd name="connsiteX17" fmla="*/ 180742 w 496139"/>
              <a:gd name="connsiteY17" fmla="*/ 151560 h 505095"/>
              <a:gd name="connsiteX18" fmla="*/ 92848 w 496139"/>
              <a:gd name="connsiteY18" fmla="*/ 26199 h 505095"/>
              <a:gd name="connsiteX19" fmla="*/ 61155 w 496139"/>
              <a:gd name="connsiteY19" fmla="*/ 35777 h 505095"/>
              <a:gd name="connsiteX20" fmla="*/ 52844 w 496139"/>
              <a:gd name="connsiteY20" fmla="*/ 71273 h 505095"/>
              <a:gd name="connsiteX21" fmla="*/ 52844 w 496139"/>
              <a:gd name="connsiteY21" fmla="*/ 260864 h 505095"/>
              <a:gd name="connsiteX22" fmla="*/ 77776 w 496139"/>
              <a:gd name="connsiteY22" fmla="*/ 272132 h 505095"/>
              <a:gd name="connsiteX23" fmla="*/ 100594 w 496139"/>
              <a:gd name="connsiteY23" fmla="*/ 280020 h 505095"/>
              <a:gd name="connsiteX24" fmla="*/ 123413 w 496139"/>
              <a:gd name="connsiteY24" fmla="*/ 285232 h 505095"/>
              <a:gd name="connsiteX25" fmla="*/ 143414 w 496139"/>
              <a:gd name="connsiteY25" fmla="*/ 288331 h 505095"/>
              <a:gd name="connsiteX26" fmla="*/ 163134 w 496139"/>
              <a:gd name="connsiteY26" fmla="*/ 289457 h 505095"/>
              <a:gd name="connsiteX27" fmla="*/ 179614 w 496139"/>
              <a:gd name="connsiteY27" fmla="*/ 289598 h 505095"/>
              <a:gd name="connsiteX28" fmla="*/ 195531 w 496139"/>
              <a:gd name="connsiteY28" fmla="*/ 289035 h 505095"/>
              <a:gd name="connsiteX29" fmla="*/ 208067 w 496139"/>
              <a:gd name="connsiteY29" fmla="*/ 288471 h 505095"/>
              <a:gd name="connsiteX30" fmla="*/ 234830 w 496139"/>
              <a:gd name="connsiteY30" fmla="*/ 296078 h 505095"/>
              <a:gd name="connsiteX31" fmla="*/ 237646 w 496139"/>
              <a:gd name="connsiteY31" fmla="*/ 298613 h 505095"/>
              <a:gd name="connsiteX32" fmla="*/ 254831 w 496139"/>
              <a:gd name="connsiteY32" fmla="*/ 312980 h 505095"/>
              <a:gd name="connsiteX33" fmla="*/ 288073 w 496139"/>
              <a:gd name="connsiteY33" fmla="*/ 288471 h 505095"/>
              <a:gd name="connsiteX34" fmla="*/ 298355 w 496139"/>
              <a:gd name="connsiteY34" fmla="*/ 288894 h 505095"/>
              <a:gd name="connsiteX35" fmla="*/ 310469 w 496139"/>
              <a:gd name="connsiteY35" fmla="*/ 289457 h 505095"/>
              <a:gd name="connsiteX36" fmla="*/ 323286 w 496139"/>
              <a:gd name="connsiteY36" fmla="*/ 289739 h 505095"/>
              <a:gd name="connsiteX37" fmla="*/ 338217 w 496139"/>
              <a:gd name="connsiteY37" fmla="*/ 289457 h 505095"/>
              <a:gd name="connsiteX38" fmla="*/ 353570 w 496139"/>
              <a:gd name="connsiteY38" fmla="*/ 288190 h 505095"/>
              <a:gd name="connsiteX39" fmla="*/ 370754 w 496139"/>
              <a:gd name="connsiteY39" fmla="*/ 285795 h 505095"/>
              <a:gd name="connsiteX40" fmla="*/ 388220 w 496139"/>
              <a:gd name="connsiteY40" fmla="*/ 281992 h 505095"/>
              <a:gd name="connsiteX41" fmla="*/ 407095 w 496139"/>
              <a:gd name="connsiteY41" fmla="*/ 276499 h 505095"/>
              <a:gd name="connsiteX42" fmla="*/ 426110 w 496139"/>
              <a:gd name="connsiteY42" fmla="*/ 268893 h 505095"/>
              <a:gd name="connsiteX43" fmla="*/ 446394 w 496139"/>
              <a:gd name="connsiteY43" fmla="*/ 259173 h 505095"/>
              <a:gd name="connsiteX44" fmla="*/ 446394 w 496139"/>
              <a:gd name="connsiteY44" fmla="*/ 71273 h 505095"/>
              <a:gd name="connsiteX45" fmla="*/ 437378 w 496139"/>
              <a:gd name="connsiteY45" fmla="*/ 36481 h 505095"/>
              <a:gd name="connsiteX46" fmla="*/ 406109 w 496139"/>
              <a:gd name="connsiteY46" fmla="*/ 26199 h 505095"/>
              <a:gd name="connsiteX47" fmla="*/ 71156 w 496139"/>
              <a:gd name="connsiteY47" fmla="*/ 0 h 505095"/>
              <a:gd name="connsiteX48" fmla="*/ 425266 w 496139"/>
              <a:gd name="connsiteY48" fmla="*/ 0 h 505095"/>
              <a:gd name="connsiteX49" fmla="*/ 457380 w 496139"/>
              <a:gd name="connsiteY49" fmla="*/ 14367 h 505095"/>
              <a:gd name="connsiteX50" fmla="*/ 470621 w 496139"/>
              <a:gd name="connsiteY50" fmla="*/ 49018 h 505095"/>
              <a:gd name="connsiteX51" fmla="*/ 470621 w 496139"/>
              <a:gd name="connsiteY51" fmla="*/ 244525 h 505095"/>
              <a:gd name="connsiteX52" fmla="*/ 476536 w 496139"/>
              <a:gd name="connsiteY52" fmla="*/ 240299 h 505095"/>
              <a:gd name="connsiteX53" fmla="*/ 493439 w 496139"/>
              <a:gd name="connsiteY53" fmla="*/ 240017 h 505095"/>
              <a:gd name="connsiteX54" fmla="*/ 492312 w 496139"/>
              <a:gd name="connsiteY54" fmla="*/ 257765 h 505095"/>
              <a:gd name="connsiteX55" fmla="*/ 387516 w 496139"/>
              <a:gd name="connsiteY55" fmla="*/ 328756 h 505095"/>
              <a:gd name="connsiteX56" fmla="*/ 381036 w 496139"/>
              <a:gd name="connsiteY56" fmla="*/ 459751 h 505095"/>
              <a:gd name="connsiteX57" fmla="*/ 329484 w 496139"/>
              <a:gd name="connsiteY57" fmla="*/ 501444 h 505095"/>
              <a:gd name="connsiteX58" fmla="*/ 278213 w 496139"/>
              <a:gd name="connsiteY58" fmla="*/ 497219 h 505095"/>
              <a:gd name="connsiteX59" fmla="*/ 255113 w 496139"/>
              <a:gd name="connsiteY59" fmla="*/ 451018 h 505095"/>
              <a:gd name="connsiteX60" fmla="*/ 254831 w 496139"/>
              <a:gd name="connsiteY60" fmla="*/ 359181 h 505095"/>
              <a:gd name="connsiteX61" fmla="*/ 254831 w 496139"/>
              <a:gd name="connsiteY61" fmla="*/ 358899 h 505095"/>
              <a:gd name="connsiteX62" fmla="*/ 247929 w 496139"/>
              <a:gd name="connsiteY62" fmla="*/ 357209 h 505095"/>
              <a:gd name="connsiteX63" fmla="*/ 241309 w 496139"/>
              <a:gd name="connsiteY63" fmla="*/ 355800 h 505095"/>
              <a:gd name="connsiteX64" fmla="*/ 241027 w 496139"/>
              <a:gd name="connsiteY64" fmla="*/ 451018 h 505095"/>
              <a:gd name="connsiteX65" fmla="*/ 217645 w 496139"/>
              <a:gd name="connsiteY65" fmla="*/ 497219 h 505095"/>
              <a:gd name="connsiteX66" fmla="*/ 166092 w 496139"/>
              <a:gd name="connsiteY66" fmla="*/ 501444 h 505095"/>
              <a:gd name="connsiteX67" fmla="*/ 114821 w 496139"/>
              <a:gd name="connsiteY67" fmla="*/ 459188 h 505095"/>
              <a:gd name="connsiteX68" fmla="*/ 108623 w 496139"/>
              <a:gd name="connsiteY68" fmla="*/ 328756 h 505095"/>
              <a:gd name="connsiteX69" fmla="*/ 3827 w 496139"/>
              <a:gd name="connsiteY69" fmla="*/ 257765 h 505095"/>
              <a:gd name="connsiteX70" fmla="*/ 2700 w 496139"/>
              <a:gd name="connsiteY70" fmla="*/ 240017 h 505095"/>
              <a:gd name="connsiteX71" fmla="*/ 19603 w 496139"/>
              <a:gd name="connsiteY71" fmla="*/ 240299 h 505095"/>
              <a:gd name="connsiteX72" fmla="*/ 22701 w 496139"/>
              <a:gd name="connsiteY72" fmla="*/ 242271 h 505095"/>
              <a:gd name="connsiteX73" fmla="*/ 25801 w 496139"/>
              <a:gd name="connsiteY73" fmla="*/ 244525 h 505095"/>
              <a:gd name="connsiteX74" fmla="*/ 25801 w 496139"/>
              <a:gd name="connsiteY74" fmla="*/ 49018 h 505095"/>
              <a:gd name="connsiteX75" fmla="*/ 39040 w 496139"/>
              <a:gd name="connsiteY75" fmla="*/ 14367 h 505095"/>
              <a:gd name="connsiteX76" fmla="*/ 71156 w 496139"/>
              <a:gd name="connsiteY76" fmla="*/ 0 h 505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496139" h="505095">
                <a:moveTo>
                  <a:pt x="322160" y="151560"/>
                </a:moveTo>
                <a:cubicBezTo>
                  <a:pt x="339062" y="151560"/>
                  <a:pt x="353429" y="157101"/>
                  <a:pt x="365261" y="168181"/>
                </a:cubicBezTo>
                <a:cubicBezTo>
                  <a:pt x="377093" y="179262"/>
                  <a:pt x="383008" y="192690"/>
                  <a:pt x="383008" y="208466"/>
                </a:cubicBezTo>
                <a:cubicBezTo>
                  <a:pt x="383008" y="224054"/>
                  <a:pt x="377093" y="237435"/>
                  <a:pt x="365261" y="248610"/>
                </a:cubicBezTo>
                <a:cubicBezTo>
                  <a:pt x="353429" y="259784"/>
                  <a:pt x="339062" y="265371"/>
                  <a:pt x="322160" y="265371"/>
                </a:cubicBezTo>
                <a:cubicBezTo>
                  <a:pt x="305445" y="265371"/>
                  <a:pt x="291124" y="259784"/>
                  <a:pt x="279199" y="248610"/>
                </a:cubicBezTo>
                <a:cubicBezTo>
                  <a:pt x="267273" y="237435"/>
                  <a:pt x="261310" y="224054"/>
                  <a:pt x="261310" y="208466"/>
                </a:cubicBezTo>
                <a:cubicBezTo>
                  <a:pt x="261310" y="192690"/>
                  <a:pt x="267273" y="179262"/>
                  <a:pt x="279199" y="168181"/>
                </a:cubicBezTo>
                <a:cubicBezTo>
                  <a:pt x="291124" y="157101"/>
                  <a:pt x="305445" y="151560"/>
                  <a:pt x="322160" y="151560"/>
                </a:cubicBezTo>
                <a:close/>
                <a:moveTo>
                  <a:pt x="180742" y="151560"/>
                </a:moveTo>
                <a:cubicBezTo>
                  <a:pt x="197456" y="151560"/>
                  <a:pt x="211777" y="157101"/>
                  <a:pt x="223703" y="168181"/>
                </a:cubicBezTo>
                <a:cubicBezTo>
                  <a:pt x="235628" y="179262"/>
                  <a:pt x="241591" y="192690"/>
                  <a:pt x="241591" y="208466"/>
                </a:cubicBezTo>
                <a:cubicBezTo>
                  <a:pt x="241591" y="224054"/>
                  <a:pt x="235628" y="237435"/>
                  <a:pt x="223703" y="248610"/>
                </a:cubicBezTo>
                <a:cubicBezTo>
                  <a:pt x="211777" y="259784"/>
                  <a:pt x="197456" y="265371"/>
                  <a:pt x="180742" y="265371"/>
                </a:cubicBezTo>
                <a:cubicBezTo>
                  <a:pt x="164027" y="265371"/>
                  <a:pt x="149707" y="259784"/>
                  <a:pt x="137781" y="248610"/>
                </a:cubicBezTo>
                <a:cubicBezTo>
                  <a:pt x="125855" y="237435"/>
                  <a:pt x="119892" y="224054"/>
                  <a:pt x="119892" y="208466"/>
                </a:cubicBezTo>
                <a:cubicBezTo>
                  <a:pt x="119892" y="192690"/>
                  <a:pt x="125855" y="179262"/>
                  <a:pt x="137781" y="168181"/>
                </a:cubicBezTo>
                <a:cubicBezTo>
                  <a:pt x="149707" y="157101"/>
                  <a:pt x="164027" y="151560"/>
                  <a:pt x="180742" y="151560"/>
                </a:cubicBezTo>
                <a:close/>
                <a:moveTo>
                  <a:pt x="92848" y="26199"/>
                </a:moveTo>
                <a:cubicBezTo>
                  <a:pt x="77259" y="26199"/>
                  <a:pt x="66695" y="29392"/>
                  <a:pt x="61155" y="35777"/>
                </a:cubicBezTo>
                <a:cubicBezTo>
                  <a:pt x="55614" y="42163"/>
                  <a:pt x="52844" y="53994"/>
                  <a:pt x="52844" y="71273"/>
                </a:cubicBezTo>
                <a:lnTo>
                  <a:pt x="52844" y="260864"/>
                </a:lnTo>
                <a:cubicBezTo>
                  <a:pt x="60920" y="265183"/>
                  <a:pt x="69230" y="268939"/>
                  <a:pt x="77776" y="272132"/>
                </a:cubicBezTo>
                <a:cubicBezTo>
                  <a:pt x="86321" y="275325"/>
                  <a:pt x="93927" y="277954"/>
                  <a:pt x="100594" y="280020"/>
                </a:cubicBezTo>
                <a:cubicBezTo>
                  <a:pt x="107261" y="282086"/>
                  <a:pt x="114868" y="283823"/>
                  <a:pt x="123413" y="285232"/>
                </a:cubicBezTo>
                <a:cubicBezTo>
                  <a:pt x="131958" y="286640"/>
                  <a:pt x="138625" y="287673"/>
                  <a:pt x="143414" y="288331"/>
                </a:cubicBezTo>
                <a:cubicBezTo>
                  <a:pt x="148204" y="288988"/>
                  <a:pt x="154776" y="289363"/>
                  <a:pt x="163134" y="289457"/>
                </a:cubicBezTo>
                <a:cubicBezTo>
                  <a:pt x="171491" y="289551"/>
                  <a:pt x="176985" y="289598"/>
                  <a:pt x="179614" y="289598"/>
                </a:cubicBezTo>
                <a:cubicBezTo>
                  <a:pt x="182243" y="289598"/>
                  <a:pt x="187549" y="289411"/>
                  <a:pt x="195531" y="289035"/>
                </a:cubicBezTo>
                <a:cubicBezTo>
                  <a:pt x="203512" y="288659"/>
                  <a:pt x="207691" y="288471"/>
                  <a:pt x="208067" y="288471"/>
                </a:cubicBezTo>
                <a:cubicBezTo>
                  <a:pt x="220837" y="288284"/>
                  <a:pt x="229758" y="290819"/>
                  <a:pt x="234830" y="296078"/>
                </a:cubicBezTo>
                <a:cubicBezTo>
                  <a:pt x="235956" y="297205"/>
                  <a:pt x="236895" y="298050"/>
                  <a:pt x="237646" y="298613"/>
                </a:cubicBezTo>
                <a:cubicBezTo>
                  <a:pt x="242529" y="303308"/>
                  <a:pt x="248257" y="308097"/>
                  <a:pt x="254831" y="312980"/>
                </a:cubicBezTo>
                <a:cubicBezTo>
                  <a:pt x="256145" y="295890"/>
                  <a:pt x="267226" y="287720"/>
                  <a:pt x="288073" y="288471"/>
                </a:cubicBezTo>
                <a:cubicBezTo>
                  <a:pt x="289011" y="288471"/>
                  <a:pt x="292439" y="288612"/>
                  <a:pt x="298355" y="288894"/>
                </a:cubicBezTo>
                <a:cubicBezTo>
                  <a:pt x="304271" y="289176"/>
                  <a:pt x="308308" y="289363"/>
                  <a:pt x="310469" y="289457"/>
                </a:cubicBezTo>
                <a:cubicBezTo>
                  <a:pt x="312628" y="289551"/>
                  <a:pt x="316901" y="289645"/>
                  <a:pt x="323286" y="289739"/>
                </a:cubicBezTo>
                <a:cubicBezTo>
                  <a:pt x="329672" y="289833"/>
                  <a:pt x="334649" y="289739"/>
                  <a:pt x="338217" y="289457"/>
                </a:cubicBezTo>
                <a:cubicBezTo>
                  <a:pt x="341785" y="289176"/>
                  <a:pt x="346903" y="288753"/>
                  <a:pt x="353570" y="288190"/>
                </a:cubicBezTo>
                <a:cubicBezTo>
                  <a:pt x="360237" y="287626"/>
                  <a:pt x="365966" y="286828"/>
                  <a:pt x="370754" y="285795"/>
                </a:cubicBezTo>
                <a:cubicBezTo>
                  <a:pt x="375544" y="284762"/>
                  <a:pt x="381365" y="283495"/>
                  <a:pt x="388220" y="281992"/>
                </a:cubicBezTo>
                <a:cubicBezTo>
                  <a:pt x="395075" y="280490"/>
                  <a:pt x="401367" y="278659"/>
                  <a:pt x="407095" y="276499"/>
                </a:cubicBezTo>
                <a:cubicBezTo>
                  <a:pt x="412822" y="274339"/>
                  <a:pt x="419161" y="271803"/>
                  <a:pt x="426110" y="268893"/>
                </a:cubicBezTo>
                <a:cubicBezTo>
                  <a:pt x="433059" y="265981"/>
                  <a:pt x="439820" y="262742"/>
                  <a:pt x="446394" y="259173"/>
                </a:cubicBezTo>
                <a:lnTo>
                  <a:pt x="446394" y="71273"/>
                </a:lnTo>
                <a:cubicBezTo>
                  <a:pt x="446394" y="54934"/>
                  <a:pt x="443388" y="43337"/>
                  <a:pt x="437378" y="36481"/>
                </a:cubicBezTo>
                <a:cubicBezTo>
                  <a:pt x="431369" y="29626"/>
                  <a:pt x="420946" y="26199"/>
                  <a:pt x="406109" y="26199"/>
                </a:cubicBezTo>
                <a:close/>
                <a:moveTo>
                  <a:pt x="71156" y="0"/>
                </a:moveTo>
                <a:lnTo>
                  <a:pt x="425266" y="0"/>
                </a:lnTo>
                <a:cubicBezTo>
                  <a:pt x="437848" y="0"/>
                  <a:pt x="448553" y="4789"/>
                  <a:pt x="457380" y="14367"/>
                </a:cubicBezTo>
                <a:cubicBezTo>
                  <a:pt x="466207" y="23945"/>
                  <a:pt x="470621" y="35495"/>
                  <a:pt x="470621" y="49018"/>
                </a:cubicBezTo>
                <a:lnTo>
                  <a:pt x="470621" y="244525"/>
                </a:lnTo>
                <a:lnTo>
                  <a:pt x="476536" y="240299"/>
                </a:lnTo>
                <a:cubicBezTo>
                  <a:pt x="483862" y="235228"/>
                  <a:pt x="489495" y="235134"/>
                  <a:pt x="493439" y="240017"/>
                </a:cubicBezTo>
                <a:cubicBezTo>
                  <a:pt x="497383" y="244900"/>
                  <a:pt x="497008" y="250816"/>
                  <a:pt x="492312" y="257765"/>
                </a:cubicBezTo>
                <a:cubicBezTo>
                  <a:pt x="469587" y="285748"/>
                  <a:pt x="434656" y="309412"/>
                  <a:pt x="387516" y="328756"/>
                </a:cubicBezTo>
                <a:cubicBezTo>
                  <a:pt x="403292" y="382281"/>
                  <a:pt x="401132" y="425946"/>
                  <a:pt x="381036" y="459751"/>
                </a:cubicBezTo>
                <a:cubicBezTo>
                  <a:pt x="368642" y="480974"/>
                  <a:pt x="351457" y="494871"/>
                  <a:pt x="329484" y="501444"/>
                </a:cubicBezTo>
                <a:cubicBezTo>
                  <a:pt x="309952" y="507454"/>
                  <a:pt x="292862" y="506046"/>
                  <a:pt x="278213" y="497219"/>
                </a:cubicBezTo>
                <a:cubicBezTo>
                  <a:pt x="262061" y="487641"/>
                  <a:pt x="254361" y="472240"/>
                  <a:pt x="255113" y="451018"/>
                </a:cubicBezTo>
                <a:lnTo>
                  <a:pt x="254831" y="359181"/>
                </a:lnTo>
                <a:lnTo>
                  <a:pt x="254831" y="358899"/>
                </a:lnTo>
                <a:cubicBezTo>
                  <a:pt x="253328" y="358523"/>
                  <a:pt x="251027" y="357960"/>
                  <a:pt x="247929" y="357209"/>
                </a:cubicBezTo>
                <a:cubicBezTo>
                  <a:pt x="244830" y="356458"/>
                  <a:pt x="242623" y="355988"/>
                  <a:pt x="241309" y="355800"/>
                </a:cubicBezTo>
                <a:lnTo>
                  <a:pt x="241027" y="451018"/>
                </a:lnTo>
                <a:cubicBezTo>
                  <a:pt x="241778" y="472428"/>
                  <a:pt x="233984" y="487828"/>
                  <a:pt x="217645" y="497219"/>
                </a:cubicBezTo>
                <a:cubicBezTo>
                  <a:pt x="202808" y="506046"/>
                  <a:pt x="185623" y="507454"/>
                  <a:pt x="166092" y="501444"/>
                </a:cubicBezTo>
                <a:cubicBezTo>
                  <a:pt x="144119" y="494683"/>
                  <a:pt x="127028" y="480598"/>
                  <a:pt x="114821" y="459188"/>
                </a:cubicBezTo>
                <a:cubicBezTo>
                  <a:pt x="95101" y="425383"/>
                  <a:pt x="93035" y="381905"/>
                  <a:pt x="108623" y="328756"/>
                </a:cubicBezTo>
                <a:cubicBezTo>
                  <a:pt x="61483" y="309412"/>
                  <a:pt x="26551" y="285748"/>
                  <a:pt x="3827" y="257765"/>
                </a:cubicBezTo>
                <a:cubicBezTo>
                  <a:pt x="-869" y="250816"/>
                  <a:pt x="-1244" y="244900"/>
                  <a:pt x="2700" y="240017"/>
                </a:cubicBezTo>
                <a:cubicBezTo>
                  <a:pt x="6644" y="235134"/>
                  <a:pt x="12278" y="235228"/>
                  <a:pt x="19603" y="240299"/>
                </a:cubicBezTo>
                <a:cubicBezTo>
                  <a:pt x="20166" y="240675"/>
                  <a:pt x="21199" y="241332"/>
                  <a:pt x="22701" y="242271"/>
                </a:cubicBezTo>
                <a:cubicBezTo>
                  <a:pt x="24204" y="243210"/>
                  <a:pt x="25237" y="243961"/>
                  <a:pt x="25801" y="244525"/>
                </a:cubicBezTo>
                <a:lnTo>
                  <a:pt x="25801" y="49018"/>
                </a:lnTo>
                <a:cubicBezTo>
                  <a:pt x="25801" y="35495"/>
                  <a:pt x="30214" y="23945"/>
                  <a:pt x="39040" y="14367"/>
                </a:cubicBezTo>
                <a:cubicBezTo>
                  <a:pt x="47867" y="4789"/>
                  <a:pt x="58572" y="0"/>
                  <a:pt x="7115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0554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0" y="1543051"/>
            <a:ext cx="9144000" cy="53149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3" name="標題 2"/>
          <p:cNvSpPr>
            <a:spLocks noGrp="1"/>
          </p:cNvSpPr>
          <p:nvPr>
            <p:ph type="ctrTitle"/>
          </p:nvPr>
        </p:nvSpPr>
        <p:spPr>
          <a:xfrm>
            <a:off x="2389348" y="152400"/>
            <a:ext cx="5459251" cy="914400"/>
          </a:xfrm>
        </p:spPr>
        <p:txBody>
          <a:bodyPr>
            <a:normAutofit/>
          </a:bodyPr>
          <a:lstStyle/>
          <a:p>
            <a:pPr algn="l"/>
            <a:r>
              <a:rPr lang="en-US" altLang="zh-TW" sz="40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PC</a:t>
            </a:r>
            <a:r>
              <a:rPr lang="zh-TW" altLang="en-US" sz="40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版離線</a:t>
            </a:r>
            <a:r>
              <a:rPr lang="zh-TW" altLang="en-US" sz="40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閱讀器</a:t>
            </a:r>
            <a:endParaRPr lang="zh-TW" altLang="en-US" sz="32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>
              <a:solidFill>
                <a:prstClr val="black"/>
              </a:solidFill>
            </a:endParaRPr>
          </a:p>
        </p:txBody>
      </p:sp>
      <p:cxnSp>
        <p:nvCxnSpPr>
          <p:cNvPr id="10" name="直線接點 9"/>
          <p:cNvCxnSpPr/>
          <p:nvPr/>
        </p:nvCxnSpPr>
        <p:spPr>
          <a:xfrm>
            <a:off x="0" y="1543051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字方塊 21"/>
          <p:cNvSpPr txBox="1"/>
          <p:nvPr/>
        </p:nvSpPr>
        <p:spPr>
          <a:xfrm>
            <a:off x="1219200" y="4603108"/>
            <a:ext cx="6477000" cy="578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TW" altLang="en-US" sz="2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改版中，敬請期待</a:t>
            </a:r>
            <a:r>
              <a:rPr lang="en-US" altLang="zh-TW" sz="2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!</a:t>
            </a:r>
            <a:endParaRPr lang="zh-TW" altLang="en-US" sz="2400" b="1" dirty="0">
              <a:solidFill>
                <a:schemeClr val="tx2">
                  <a:lumMod val="60000"/>
                  <a:lumOff val="4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23" name="Group 27">
            <a:extLst>
              <a:ext uri="{FF2B5EF4-FFF2-40B4-BE49-F238E27FC236}">
                <a16:creationId xmlns:a16="http://schemas.microsoft.com/office/drawing/2014/main" xmlns="" id="{FBF1247B-C7B2-4A29-A928-742AD580F4D0}"/>
              </a:ext>
            </a:extLst>
          </p:cNvPr>
          <p:cNvGrpSpPr/>
          <p:nvPr/>
        </p:nvGrpSpPr>
        <p:grpSpPr>
          <a:xfrm>
            <a:off x="1747810" y="480219"/>
            <a:ext cx="324000" cy="288000"/>
            <a:chOff x="879475" y="817563"/>
            <a:chExt cx="287338" cy="258762"/>
          </a:xfrm>
          <a:solidFill>
            <a:schemeClr val="bg1"/>
          </a:solidFill>
        </p:grpSpPr>
        <p:sp>
          <p:nvSpPr>
            <p:cNvPr id="24" name="Freeform 1593">
              <a:extLst>
                <a:ext uri="{FF2B5EF4-FFF2-40B4-BE49-F238E27FC236}">
                  <a16:creationId xmlns:a16="http://schemas.microsoft.com/office/drawing/2014/main" xmlns="" id="{728EACAF-D70A-4CF8-8443-3836DF8B4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475" y="817563"/>
              <a:ext cx="287338" cy="171450"/>
            </a:xfrm>
            <a:custGeom>
              <a:avLst/>
              <a:gdLst>
                <a:gd name="T0" fmla="*/ 829 w 904"/>
                <a:gd name="T1" fmla="*/ 0 h 544"/>
                <a:gd name="T2" fmla="*/ 75 w 904"/>
                <a:gd name="T3" fmla="*/ 0 h 544"/>
                <a:gd name="T4" fmla="*/ 67 w 904"/>
                <a:gd name="T5" fmla="*/ 2 h 544"/>
                <a:gd name="T6" fmla="*/ 59 w 904"/>
                <a:gd name="T7" fmla="*/ 3 h 544"/>
                <a:gd name="T8" fmla="*/ 53 w 904"/>
                <a:gd name="T9" fmla="*/ 4 h 544"/>
                <a:gd name="T10" fmla="*/ 46 w 904"/>
                <a:gd name="T11" fmla="*/ 7 h 544"/>
                <a:gd name="T12" fmla="*/ 40 w 904"/>
                <a:gd name="T13" fmla="*/ 10 h 544"/>
                <a:gd name="T14" fmla="*/ 33 w 904"/>
                <a:gd name="T15" fmla="*/ 14 h 544"/>
                <a:gd name="T16" fmla="*/ 27 w 904"/>
                <a:gd name="T17" fmla="*/ 18 h 544"/>
                <a:gd name="T18" fmla="*/ 22 w 904"/>
                <a:gd name="T19" fmla="*/ 23 h 544"/>
                <a:gd name="T20" fmla="*/ 16 w 904"/>
                <a:gd name="T21" fmla="*/ 28 h 544"/>
                <a:gd name="T22" fmla="*/ 12 w 904"/>
                <a:gd name="T23" fmla="*/ 34 h 544"/>
                <a:gd name="T24" fmla="*/ 9 w 904"/>
                <a:gd name="T25" fmla="*/ 40 h 544"/>
                <a:gd name="T26" fmla="*/ 5 w 904"/>
                <a:gd name="T27" fmla="*/ 47 h 544"/>
                <a:gd name="T28" fmla="*/ 3 w 904"/>
                <a:gd name="T29" fmla="*/ 54 h 544"/>
                <a:gd name="T30" fmla="*/ 1 w 904"/>
                <a:gd name="T31" fmla="*/ 61 h 544"/>
                <a:gd name="T32" fmla="*/ 0 w 904"/>
                <a:gd name="T33" fmla="*/ 69 h 544"/>
                <a:gd name="T34" fmla="*/ 0 w 904"/>
                <a:gd name="T35" fmla="*/ 77 h 544"/>
                <a:gd name="T36" fmla="*/ 0 w 904"/>
                <a:gd name="T37" fmla="*/ 544 h 544"/>
                <a:gd name="T38" fmla="*/ 904 w 904"/>
                <a:gd name="T39" fmla="*/ 544 h 544"/>
                <a:gd name="T40" fmla="*/ 904 w 904"/>
                <a:gd name="T41" fmla="*/ 77 h 544"/>
                <a:gd name="T42" fmla="*/ 904 w 904"/>
                <a:gd name="T43" fmla="*/ 69 h 544"/>
                <a:gd name="T44" fmla="*/ 903 w 904"/>
                <a:gd name="T45" fmla="*/ 61 h 544"/>
                <a:gd name="T46" fmla="*/ 901 w 904"/>
                <a:gd name="T47" fmla="*/ 54 h 544"/>
                <a:gd name="T48" fmla="*/ 899 w 904"/>
                <a:gd name="T49" fmla="*/ 47 h 544"/>
                <a:gd name="T50" fmla="*/ 896 w 904"/>
                <a:gd name="T51" fmla="*/ 40 h 544"/>
                <a:gd name="T52" fmla="*/ 892 w 904"/>
                <a:gd name="T53" fmla="*/ 34 h 544"/>
                <a:gd name="T54" fmla="*/ 888 w 904"/>
                <a:gd name="T55" fmla="*/ 28 h 544"/>
                <a:gd name="T56" fmla="*/ 882 w 904"/>
                <a:gd name="T57" fmla="*/ 23 h 544"/>
                <a:gd name="T58" fmla="*/ 877 w 904"/>
                <a:gd name="T59" fmla="*/ 18 h 544"/>
                <a:gd name="T60" fmla="*/ 871 w 904"/>
                <a:gd name="T61" fmla="*/ 14 h 544"/>
                <a:gd name="T62" fmla="*/ 866 w 904"/>
                <a:gd name="T63" fmla="*/ 10 h 544"/>
                <a:gd name="T64" fmla="*/ 859 w 904"/>
                <a:gd name="T65" fmla="*/ 7 h 544"/>
                <a:gd name="T66" fmla="*/ 851 w 904"/>
                <a:gd name="T67" fmla="*/ 4 h 544"/>
                <a:gd name="T68" fmla="*/ 845 w 904"/>
                <a:gd name="T69" fmla="*/ 3 h 544"/>
                <a:gd name="T70" fmla="*/ 837 w 904"/>
                <a:gd name="T71" fmla="*/ 2 h 544"/>
                <a:gd name="T72" fmla="*/ 829 w 904"/>
                <a:gd name="T73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4" h="544">
                  <a:moveTo>
                    <a:pt x="829" y="0"/>
                  </a:moveTo>
                  <a:lnTo>
                    <a:pt x="75" y="0"/>
                  </a:lnTo>
                  <a:lnTo>
                    <a:pt x="67" y="2"/>
                  </a:lnTo>
                  <a:lnTo>
                    <a:pt x="59" y="3"/>
                  </a:lnTo>
                  <a:lnTo>
                    <a:pt x="53" y="4"/>
                  </a:lnTo>
                  <a:lnTo>
                    <a:pt x="46" y="7"/>
                  </a:lnTo>
                  <a:lnTo>
                    <a:pt x="40" y="10"/>
                  </a:lnTo>
                  <a:lnTo>
                    <a:pt x="33" y="14"/>
                  </a:lnTo>
                  <a:lnTo>
                    <a:pt x="27" y="18"/>
                  </a:lnTo>
                  <a:lnTo>
                    <a:pt x="22" y="23"/>
                  </a:lnTo>
                  <a:lnTo>
                    <a:pt x="16" y="28"/>
                  </a:lnTo>
                  <a:lnTo>
                    <a:pt x="12" y="34"/>
                  </a:lnTo>
                  <a:lnTo>
                    <a:pt x="9" y="40"/>
                  </a:lnTo>
                  <a:lnTo>
                    <a:pt x="5" y="47"/>
                  </a:lnTo>
                  <a:lnTo>
                    <a:pt x="3" y="54"/>
                  </a:lnTo>
                  <a:lnTo>
                    <a:pt x="1" y="61"/>
                  </a:lnTo>
                  <a:lnTo>
                    <a:pt x="0" y="69"/>
                  </a:lnTo>
                  <a:lnTo>
                    <a:pt x="0" y="77"/>
                  </a:lnTo>
                  <a:lnTo>
                    <a:pt x="0" y="544"/>
                  </a:lnTo>
                  <a:lnTo>
                    <a:pt x="904" y="544"/>
                  </a:lnTo>
                  <a:lnTo>
                    <a:pt x="904" y="77"/>
                  </a:lnTo>
                  <a:lnTo>
                    <a:pt x="904" y="69"/>
                  </a:lnTo>
                  <a:lnTo>
                    <a:pt x="903" y="61"/>
                  </a:lnTo>
                  <a:lnTo>
                    <a:pt x="901" y="54"/>
                  </a:lnTo>
                  <a:lnTo>
                    <a:pt x="899" y="47"/>
                  </a:lnTo>
                  <a:lnTo>
                    <a:pt x="896" y="40"/>
                  </a:lnTo>
                  <a:lnTo>
                    <a:pt x="892" y="34"/>
                  </a:lnTo>
                  <a:lnTo>
                    <a:pt x="888" y="28"/>
                  </a:lnTo>
                  <a:lnTo>
                    <a:pt x="882" y="23"/>
                  </a:lnTo>
                  <a:lnTo>
                    <a:pt x="877" y="18"/>
                  </a:lnTo>
                  <a:lnTo>
                    <a:pt x="871" y="14"/>
                  </a:lnTo>
                  <a:lnTo>
                    <a:pt x="866" y="10"/>
                  </a:lnTo>
                  <a:lnTo>
                    <a:pt x="859" y="7"/>
                  </a:lnTo>
                  <a:lnTo>
                    <a:pt x="851" y="4"/>
                  </a:lnTo>
                  <a:lnTo>
                    <a:pt x="845" y="3"/>
                  </a:lnTo>
                  <a:lnTo>
                    <a:pt x="837" y="2"/>
                  </a:lnTo>
                  <a:lnTo>
                    <a:pt x="8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594">
              <a:extLst>
                <a:ext uri="{FF2B5EF4-FFF2-40B4-BE49-F238E27FC236}">
                  <a16:creationId xmlns:a16="http://schemas.microsoft.com/office/drawing/2014/main" xmlns="" id="{9D467738-C936-45B3-861A-27E90DD89F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475" y="1000125"/>
              <a:ext cx="287338" cy="76200"/>
            </a:xfrm>
            <a:custGeom>
              <a:avLst/>
              <a:gdLst>
                <a:gd name="T0" fmla="*/ 459 w 904"/>
                <a:gd name="T1" fmla="*/ 29 h 241"/>
                <a:gd name="T2" fmla="*/ 469 w 904"/>
                <a:gd name="T3" fmla="*/ 35 h 241"/>
                <a:gd name="T4" fmla="*/ 478 w 904"/>
                <a:gd name="T5" fmla="*/ 43 h 241"/>
                <a:gd name="T6" fmla="*/ 482 w 904"/>
                <a:gd name="T7" fmla="*/ 54 h 241"/>
                <a:gd name="T8" fmla="*/ 482 w 904"/>
                <a:gd name="T9" fmla="*/ 66 h 241"/>
                <a:gd name="T10" fmla="*/ 478 w 904"/>
                <a:gd name="T11" fmla="*/ 77 h 241"/>
                <a:gd name="T12" fmla="*/ 469 w 904"/>
                <a:gd name="T13" fmla="*/ 85 h 241"/>
                <a:gd name="T14" fmla="*/ 459 w 904"/>
                <a:gd name="T15" fmla="*/ 89 h 241"/>
                <a:gd name="T16" fmla="*/ 447 w 904"/>
                <a:gd name="T17" fmla="*/ 89 h 241"/>
                <a:gd name="T18" fmla="*/ 436 w 904"/>
                <a:gd name="T19" fmla="*/ 85 h 241"/>
                <a:gd name="T20" fmla="*/ 427 w 904"/>
                <a:gd name="T21" fmla="*/ 77 h 241"/>
                <a:gd name="T22" fmla="*/ 422 w 904"/>
                <a:gd name="T23" fmla="*/ 66 h 241"/>
                <a:gd name="T24" fmla="*/ 422 w 904"/>
                <a:gd name="T25" fmla="*/ 54 h 241"/>
                <a:gd name="T26" fmla="*/ 427 w 904"/>
                <a:gd name="T27" fmla="*/ 43 h 241"/>
                <a:gd name="T28" fmla="*/ 436 w 904"/>
                <a:gd name="T29" fmla="*/ 35 h 241"/>
                <a:gd name="T30" fmla="*/ 447 w 904"/>
                <a:gd name="T31" fmla="*/ 31 h 241"/>
                <a:gd name="T32" fmla="*/ 452 w 904"/>
                <a:gd name="T33" fmla="*/ 29 h 241"/>
                <a:gd name="T34" fmla="*/ 0 w 904"/>
                <a:gd name="T35" fmla="*/ 83 h 241"/>
                <a:gd name="T36" fmla="*/ 3 w 904"/>
                <a:gd name="T37" fmla="*/ 97 h 241"/>
                <a:gd name="T38" fmla="*/ 9 w 904"/>
                <a:gd name="T39" fmla="*/ 110 h 241"/>
                <a:gd name="T40" fmla="*/ 16 w 904"/>
                <a:gd name="T41" fmla="*/ 122 h 241"/>
                <a:gd name="T42" fmla="*/ 27 w 904"/>
                <a:gd name="T43" fmla="*/ 132 h 241"/>
                <a:gd name="T44" fmla="*/ 40 w 904"/>
                <a:gd name="T45" fmla="*/ 141 h 241"/>
                <a:gd name="T46" fmla="*/ 53 w 904"/>
                <a:gd name="T47" fmla="*/ 147 h 241"/>
                <a:gd name="T48" fmla="*/ 67 w 904"/>
                <a:gd name="T49" fmla="*/ 150 h 241"/>
                <a:gd name="T50" fmla="*/ 437 w 904"/>
                <a:gd name="T51" fmla="*/ 150 h 241"/>
                <a:gd name="T52" fmla="*/ 195 w 904"/>
                <a:gd name="T53" fmla="*/ 211 h 241"/>
                <a:gd name="T54" fmla="*/ 190 w 904"/>
                <a:gd name="T55" fmla="*/ 212 h 241"/>
                <a:gd name="T56" fmla="*/ 186 w 904"/>
                <a:gd name="T57" fmla="*/ 215 h 241"/>
                <a:gd name="T58" fmla="*/ 182 w 904"/>
                <a:gd name="T59" fmla="*/ 220 h 241"/>
                <a:gd name="T60" fmla="*/ 181 w 904"/>
                <a:gd name="T61" fmla="*/ 225 h 241"/>
                <a:gd name="T62" fmla="*/ 182 w 904"/>
                <a:gd name="T63" fmla="*/ 232 h 241"/>
                <a:gd name="T64" fmla="*/ 186 w 904"/>
                <a:gd name="T65" fmla="*/ 236 h 241"/>
                <a:gd name="T66" fmla="*/ 190 w 904"/>
                <a:gd name="T67" fmla="*/ 240 h 241"/>
                <a:gd name="T68" fmla="*/ 195 w 904"/>
                <a:gd name="T69" fmla="*/ 241 h 241"/>
                <a:gd name="T70" fmla="*/ 742 w 904"/>
                <a:gd name="T71" fmla="*/ 241 h 241"/>
                <a:gd name="T72" fmla="*/ 747 w 904"/>
                <a:gd name="T73" fmla="*/ 239 h 241"/>
                <a:gd name="T74" fmla="*/ 752 w 904"/>
                <a:gd name="T75" fmla="*/ 234 h 241"/>
                <a:gd name="T76" fmla="*/ 754 w 904"/>
                <a:gd name="T77" fmla="*/ 229 h 241"/>
                <a:gd name="T78" fmla="*/ 754 w 904"/>
                <a:gd name="T79" fmla="*/ 223 h 241"/>
                <a:gd name="T80" fmla="*/ 752 w 904"/>
                <a:gd name="T81" fmla="*/ 218 h 241"/>
                <a:gd name="T82" fmla="*/ 747 w 904"/>
                <a:gd name="T83" fmla="*/ 213 h 241"/>
                <a:gd name="T84" fmla="*/ 742 w 904"/>
                <a:gd name="T85" fmla="*/ 211 h 241"/>
                <a:gd name="T86" fmla="*/ 468 w 904"/>
                <a:gd name="T87" fmla="*/ 211 h 241"/>
                <a:gd name="T88" fmla="*/ 829 w 904"/>
                <a:gd name="T89" fmla="*/ 150 h 241"/>
                <a:gd name="T90" fmla="*/ 845 w 904"/>
                <a:gd name="T91" fmla="*/ 149 h 241"/>
                <a:gd name="T92" fmla="*/ 859 w 904"/>
                <a:gd name="T93" fmla="*/ 145 h 241"/>
                <a:gd name="T94" fmla="*/ 871 w 904"/>
                <a:gd name="T95" fmla="*/ 137 h 241"/>
                <a:gd name="T96" fmla="*/ 882 w 904"/>
                <a:gd name="T97" fmla="*/ 128 h 241"/>
                <a:gd name="T98" fmla="*/ 892 w 904"/>
                <a:gd name="T99" fmla="*/ 117 h 241"/>
                <a:gd name="T100" fmla="*/ 899 w 904"/>
                <a:gd name="T101" fmla="*/ 104 h 241"/>
                <a:gd name="T102" fmla="*/ 903 w 904"/>
                <a:gd name="T103" fmla="*/ 90 h 241"/>
                <a:gd name="T104" fmla="*/ 904 w 904"/>
                <a:gd name="T105" fmla="*/ 75 h 241"/>
                <a:gd name="T106" fmla="*/ 0 w 904"/>
                <a:gd name="T10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4" h="241">
                  <a:moveTo>
                    <a:pt x="452" y="29"/>
                  </a:moveTo>
                  <a:lnTo>
                    <a:pt x="459" y="29"/>
                  </a:lnTo>
                  <a:lnTo>
                    <a:pt x="464" y="32"/>
                  </a:lnTo>
                  <a:lnTo>
                    <a:pt x="469" y="35"/>
                  </a:lnTo>
                  <a:lnTo>
                    <a:pt x="473" y="38"/>
                  </a:lnTo>
                  <a:lnTo>
                    <a:pt x="478" y="43"/>
                  </a:lnTo>
                  <a:lnTo>
                    <a:pt x="480" y="48"/>
                  </a:lnTo>
                  <a:lnTo>
                    <a:pt x="482" y="54"/>
                  </a:lnTo>
                  <a:lnTo>
                    <a:pt x="482" y="59"/>
                  </a:lnTo>
                  <a:lnTo>
                    <a:pt x="482" y="66"/>
                  </a:lnTo>
                  <a:lnTo>
                    <a:pt x="480" y="71"/>
                  </a:lnTo>
                  <a:lnTo>
                    <a:pt x="478" y="77"/>
                  </a:lnTo>
                  <a:lnTo>
                    <a:pt x="473" y="81"/>
                  </a:lnTo>
                  <a:lnTo>
                    <a:pt x="469" y="85"/>
                  </a:lnTo>
                  <a:lnTo>
                    <a:pt x="464" y="87"/>
                  </a:lnTo>
                  <a:lnTo>
                    <a:pt x="459" y="89"/>
                  </a:lnTo>
                  <a:lnTo>
                    <a:pt x="452" y="90"/>
                  </a:lnTo>
                  <a:lnTo>
                    <a:pt x="447" y="89"/>
                  </a:lnTo>
                  <a:lnTo>
                    <a:pt x="440" y="87"/>
                  </a:lnTo>
                  <a:lnTo>
                    <a:pt x="436" y="85"/>
                  </a:lnTo>
                  <a:lnTo>
                    <a:pt x="431" y="81"/>
                  </a:lnTo>
                  <a:lnTo>
                    <a:pt x="427" y="77"/>
                  </a:lnTo>
                  <a:lnTo>
                    <a:pt x="424" y="71"/>
                  </a:lnTo>
                  <a:lnTo>
                    <a:pt x="422" y="66"/>
                  </a:lnTo>
                  <a:lnTo>
                    <a:pt x="422" y="59"/>
                  </a:lnTo>
                  <a:lnTo>
                    <a:pt x="422" y="54"/>
                  </a:lnTo>
                  <a:lnTo>
                    <a:pt x="424" y="48"/>
                  </a:lnTo>
                  <a:lnTo>
                    <a:pt x="427" y="43"/>
                  </a:lnTo>
                  <a:lnTo>
                    <a:pt x="431" y="38"/>
                  </a:lnTo>
                  <a:lnTo>
                    <a:pt x="436" y="35"/>
                  </a:lnTo>
                  <a:lnTo>
                    <a:pt x="440" y="32"/>
                  </a:lnTo>
                  <a:lnTo>
                    <a:pt x="447" y="31"/>
                  </a:lnTo>
                  <a:lnTo>
                    <a:pt x="452" y="29"/>
                  </a:lnTo>
                  <a:lnTo>
                    <a:pt x="452" y="29"/>
                  </a:lnTo>
                  <a:close/>
                  <a:moveTo>
                    <a:pt x="0" y="75"/>
                  </a:moveTo>
                  <a:lnTo>
                    <a:pt x="0" y="83"/>
                  </a:lnTo>
                  <a:lnTo>
                    <a:pt x="1" y="90"/>
                  </a:lnTo>
                  <a:lnTo>
                    <a:pt x="3" y="97"/>
                  </a:lnTo>
                  <a:lnTo>
                    <a:pt x="5" y="104"/>
                  </a:lnTo>
                  <a:lnTo>
                    <a:pt x="9" y="110"/>
                  </a:lnTo>
                  <a:lnTo>
                    <a:pt x="12" y="117"/>
                  </a:lnTo>
                  <a:lnTo>
                    <a:pt x="16" y="122"/>
                  </a:lnTo>
                  <a:lnTo>
                    <a:pt x="22" y="128"/>
                  </a:lnTo>
                  <a:lnTo>
                    <a:pt x="27" y="132"/>
                  </a:lnTo>
                  <a:lnTo>
                    <a:pt x="33" y="137"/>
                  </a:lnTo>
                  <a:lnTo>
                    <a:pt x="40" y="141"/>
                  </a:lnTo>
                  <a:lnTo>
                    <a:pt x="46" y="145"/>
                  </a:lnTo>
                  <a:lnTo>
                    <a:pt x="53" y="147"/>
                  </a:lnTo>
                  <a:lnTo>
                    <a:pt x="59" y="149"/>
                  </a:lnTo>
                  <a:lnTo>
                    <a:pt x="67" y="150"/>
                  </a:lnTo>
                  <a:lnTo>
                    <a:pt x="75" y="150"/>
                  </a:lnTo>
                  <a:lnTo>
                    <a:pt x="437" y="150"/>
                  </a:lnTo>
                  <a:lnTo>
                    <a:pt x="437" y="211"/>
                  </a:lnTo>
                  <a:lnTo>
                    <a:pt x="195" y="211"/>
                  </a:lnTo>
                  <a:lnTo>
                    <a:pt x="192" y="211"/>
                  </a:lnTo>
                  <a:lnTo>
                    <a:pt x="190" y="212"/>
                  </a:lnTo>
                  <a:lnTo>
                    <a:pt x="188" y="213"/>
                  </a:lnTo>
                  <a:lnTo>
                    <a:pt x="186" y="215"/>
                  </a:lnTo>
                  <a:lnTo>
                    <a:pt x="183" y="218"/>
                  </a:lnTo>
                  <a:lnTo>
                    <a:pt x="182" y="220"/>
                  </a:lnTo>
                  <a:lnTo>
                    <a:pt x="181" y="223"/>
                  </a:lnTo>
                  <a:lnTo>
                    <a:pt x="181" y="225"/>
                  </a:lnTo>
                  <a:lnTo>
                    <a:pt x="181" y="229"/>
                  </a:lnTo>
                  <a:lnTo>
                    <a:pt x="182" y="232"/>
                  </a:lnTo>
                  <a:lnTo>
                    <a:pt x="183" y="234"/>
                  </a:lnTo>
                  <a:lnTo>
                    <a:pt x="186" y="236"/>
                  </a:lnTo>
                  <a:lnTo>
                    <a:pt x="188" y="239"/>
                  </a:lnTo>
                  <a:lnTo>
                    <a:pt x="190" y="240"/>
                  </a:lnTo>
                  <a:lnTo>
                    <a:pt x="192" y="241"/>
                  </a:lnTo>
                  <a:lnTo>
                    <a:pt x="195" y="241"/>
                  </a:lnTo>
                  <a:lnTo>
                    <a:pt x="739" y="241"/>
                  </a:lnTo>
                  <a:lnTo>
                    <a:pt x="742" y="241"/>
                  </a:lnTo>
                  <a:lnTo>
                    <a:pt x="745" y="240"/>
                  </a:lnTo>
                  <a:lnTo>
                    <a:pt x="747" y="239"/>
                  </a:lnTo>
                  <a:lnTo>
                    <a:pt x="750" y="236"/>
                  </a:lnTo>
                  <a:lnTo>
                    <a:pt x="752" y="234"/>
                  </a:lnTo>
                  <a:lnTo>
                    <a:pt x="753" y="232"/>
                  </a:lnTo>
                  <a:lnTo>
                    <a:pt x="754" y="229"/>
                  </a:lnTo>
                  <a:lnTo>
                    <a:pt x="754" y="225"/>
                  </a:lnTo>
                  <a:lnTo>
                    <a:pt x="754" y="223"/>
                  </a:lnTo>
                  <a:lnTo>
                    <a:pt x="753" y="220"/>
                  </a:lnTo>
                  <a:lnTo>
                    <a:pt x="752" y="218"/>
                  </a:lnTo>
                  <a:lnTo>
                    <a:pt x="750" y="215"/>
                  </a:lnTo>
                  <a:lnTo>
                    <a:pt x="747" y="213"/>
                  </a:lnTo>
                  <a:lnTo>
                    <a:pt x="745" y="212"/>
                  </a:lnTo>
                  <a:lnTo>
                    <a:pt x="742" y="211"/>
                  </a:lnTo>
                  <a:lnTo>
                    <a:pt x="739" y="211"/>
                  </a:lnTo>
                  <a:lnTo>
                    <a:pt x="468" y="211"/>
                  </a:lnTo>
                  <a:lnTo>
                    <a:pt x="468" y="150"/>
                  </a:lnTo>
                  <a:lnTo>
                    <a:pt x="829" y="150"/>
                  </a:lnTo>
                  <a:lnTo>
                    <a:pt x="837" y="150"/>
                  </a:lnTo>
                  <a:lnTo>
                    <a:pt x="845" y="149"/>
                  </a:lnTo>
                  <a:lnTo>
                    <a:pt x="851" y="147"/>
                  </a:lnTo>
                  <a:lnTo>
                    <a:pt x="859" y="145"/>
                  </a:lnTo>
                  <a:lnTo>
                    <a:pt x="866" y="141"/>
                  </a:lnTo>
                  <a:lnTo>
                    <a:pt x="871" y="137"/>
                  </a:lnTo>
                  <a:lnTo>
                    <a:pt x="877" y="132"/>
                  </a:lnTo>
                  <a:lnTo>
                    <a:pt x="882" y="128"/>
                  </a:lnTo>
                  <a:lnTo>
                    <a:pt x="888" y="122"/>
                  </a:lnTo>
                  <a:lnTo>
                    <a:pt x="892" y="117"/>
                  </a:lnTo>
                  <a:lnTo>
                    <a:pt x="896" y="110"/>
                  </a:lnTo>
                  <a:lnTo>
                    <a:pt x="899" y="104"/>
                  </a:lnTo>
                  <a:lnTo>
                    <a:pt x="901" y="97"/>
                  </a:lnTo>
                  <a:lnTo>
                    <a:pt x="903" y="90"/>
                  </a:lnTo>
                  <a:lnTo>
                    <a:pt x="904" y="83"/>
                  </a:lnTo>
                  <a:lnTo>
                    <a:pt x="904" y="75"/>
                  </a:lnTo>
                  <a:lnTo>
                    <a:pt x="904" y="0"/>
                  </a:lnTo>
                  <a:lnTo>
                    <a:pt x="0" y="0"/>
                  </a:lnTo>
                  <a:lnTo>
                    <a:pt x="0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026" name="Picture 2" descr="https://i.gyazo.com/7e740849f6404bb55ee9dcbb81c95bf1.png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86" b="89734" l="6231" r="96262">
                        <a14:foregroundMark x1="60748" y1="52471" x2="60748" y2="52471"/>
                        <a14:foregroundMark x1="76636" y1="76426" x2="76636" y2="7642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2738297"/>
            <a:ext cx="2052084" cy="1681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25859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27709" y="4800600"/>
            <a:ext cx="9165772" cy="20574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170" name="Picture 2" descr="http://www.airiti.com/tw/assets/img/main/abc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709" y="-1"/>
            <a:ext cx="9171709" cy="4800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文字方塊 3"/>
          <p:cNvSpPr txBox="1"/>
          <p:nvPr/>
        </p:nvSpPr>
        <p:spPr>
          <a:xfrm>
            <a:off x="2799019" y="5181600"/>
            <a:ext cx="3679212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zh-TW" altLang="en-US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歡迎使用華藝電子書</a:t>
            </a:r>
            <a:r>
              <a:rPr lang="en-US" altLang="zh-TW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! </a:t>
            </a:r>
            <a:endParaRPr lang="zh-TW" altLang="en-US" sz="28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9" name="文字方塊 18"/>
          <p:cNvSpPr txBox="1"/>
          <p:nvPr/>
        </p:nvSpPr>
        <p:spPr>
          <a:xfrm>
            <a:off x="2362201" y="5969913"/>
            <a:ext cx="4552849" cy="43088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zh-TW" altLang="en-US" sz="2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圖書館雲端書庫，行動閱讀超方便</a:t>
            </a:r>
            <a:r>
              <a:rPr lang="en-US" altLang="zh-TW" sz="2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!</a:t>
            </a:r>
            <a:endParaRPr lang="zh-TW" altLang="en-US" sz="2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577913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13582625-93F8-4A20-89AC-64074FB4302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40" t="4764" r="10703" b="20338"/>
          <a:stretch/>
        </p:blipFill>
        <p:spPr>
          <a:xfrm>
            <a:off x="-10885" y="2"/>
            <a:ext cx="9176657" cy="684847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B74543A3-A871-44B0-9BA4-4FD784D7E9E8}"/>
              </a:ext>
            </a:extLst>
          </p:cNvPr>
          <p:cNvSpPr/>
          <p:nvPr/>
        </p:nvSpPr>
        <p:spPr>
          <a:xfrm>
            <a:off x="-10885" y="0"/>
            <a:ext cx="9165772" cy="68580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5CAC578A-623B-41C0-8387-AB22C806A2B7}"/>
              </a:ext>
            </a:extLst>
          </p:cNvPr>
          <p:cNvGrpSpPr/>
          <p:nvPr/>
        </p:nvGrpSpPr>
        <p:grpSpPr>
          <a:xfrm>
            <a:off x="243672" y="381000"/>
            <a:ext cx="1316865" cy="324896"/>
            <a:chOff x="869452" y="-3368162"/>
            <a:chExt cx="7810998" cy="1445342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xmlns="" id="{63FDD55A-FD41-4EEF-8D26-D607C54C3480}"/>
                </a:ext>
              </a:extLst>
            </p:cNvPr>
            <p:cNvSpPr/>
            <p:nvPr/>
          </p:nvSpPr>
          <p:spPr>
            <a:xfrm>
              <a:off x="869452" y="-3368162"/>
              <a:ext cx="1445342" cy="1445342"/>
            </a:xfrm>
            <a:prstGeom prst="ellipse">
              <a:avLst/>
            </a:prstGeom>
            <a:solidFill>
              <a:srgbClr val="0024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55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xmlns="" id="{12F0F404-F52F-4C73-915C-443CE0CCF829}"/>
                </a:ext>
              </a:extLst>
            </p:cNvPr>
            <p:cNvSpPr/>
            <p:nvPr/>
          </p:nvSpPr>
          <p:spPr>
            <a:xfrm>
              <a:off x="2991337" y="-3368162"/>
              <a:ext cx="1445342" cy="1445342"/>
            </a:xfrm>
            <a:prstGeom prst="ellipse">
              <a:avLst/>
            </a:prstGeom>
            <a:solidFill>
              <a:srgbClr val="0681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55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xmlns="" id="{386CA48B-058D-47D5-9F18-B2CA3C3163D2}"/>
                </a:ext>
              </a:extLst>
            </p:cNvPr>
            <p:cNvSpPr/>
            <p:nvPr/>
          </p:nvSpPr>
          <p:spPr>
            <a:xfrm>
              <a:off x="5113222" y="-3368162"/>
              <a:ext cx="1445342" cy="1445342"/>
            </a:xfrm>
            <a:prstGeom prst="ellipse">
              <a:avLst/>
            </a:prstGeom>
            <a:solidFill>
              <a:srgbClr val="45C2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55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xmlns="" id="{061868D8-0184-4920-939A-C9635B155BE5}"/>
                </a:ext>
              </a:extLst>
            </p:cNvPr>
            <p:cNvSpPr/>
            <p:nvPr/>
          </p:nvSpPr>
          <p:spPr>
            <a:xfrm>
              <a:off x="7235108" y="-3368162"/>
              <a:ext cx="1445342" cy="1445342"/>
            </a:xfrm>
            <a:prstGeom prst="ellipse">
              <a:avLst/>
            </a:prstGeom>
            <a:solidFill>
              <a:srgbClr val="BDE8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55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68E650D7-8B00-4A62-A325-F03F3DB889B5}"/>
              </a:ext>
            </a:extLst>
          </p:cNvPr>
          <p:cNvGrpSpPr/>
          <p:nvPr/>
        </p:nvGrpSpPr>
        <p:grpSpPr>
          <a:xfrm>
            <a:off x="2791285" y="2548208"/>
            <a:ext cx="3350020" cy="769441"/>
            <a:chOff x="3843615" y="2542839"/>
            <a:chExt cx="4466692" cy="1145228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xmlns="" id="{44A23744-D77C-42C9-9123-02987EB3A91C}"/>
                </a:ext>
              </a:extLst>
            </p:cNvPr>
            <p:cNvSpPr txBox="1"/>
            <p:nvPr/>
          </p:nvSpPr>
          <p:spPr>
            <a:xfrm>
              <a:off x="3843615" y="2542839"/>
              <a:ext cx="4466692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3755"/>
              <a:r>
                <a:rPr lang="en-US" sz="4400" b="1" spc="300" dirty="0" smtClean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Thank You</a:t>
              </a:r>
              <a:endParaRPr lang="en-US" sz="4400" b="1" spc="300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xmlns="" id="{D3D017D1-9B42-4963-8502-47952533B93E}"/>
                </a:ext>
              </a:extLst>
            </p:cNvPr>
            <p:cNvCxnSpPr/>
            <p:nvPr/>
          </p:nvCxnSpPr>
          <p:spPr>
            <a:xfrm>
              <a:off x="3951375" y="3688067"/>
              <a:ext cx="425114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Freeform 9">
            <a:extLst>
              <a:ext uri="{FF2B5EF4-FFF2-40B4-BE49-F238E27FC236}">
                <a16:creationId xmlns:a16="http://schemas.microsoft.com/office/drawing/2014/main" xmlns="" id="{774CFFF1-0D07-4ED1-B59A-071B59A1FFEA}"/>
              </a:ext>
            </a:extLst>
          </p:cNvPr>
          <p:cNvSpPr>
            <a:spLocks/>
          </p:cNvSpPr>
          <p:nvPr/>
        </p:nvSpPr>
        <p:spPr bwMode="auto">
          <a:xfrm>
            <a:off x="3848100" y="1"/>
            <a:ext cx="5317672" cy="3540351"/>
          </a:xfrm>
          <a:custGeom>
            <a:avLst/>
            <a:gdLst>
              <a:gd name="T0" fmla="*/ 0 w 7680"/>
              <a:gd name="T1" fmla="*/ 0 h 1850"/>
              <a:gd name="T2" fmla="*/ 2319 w 7680"/>
              <a:gd name="T3" fmla="*/ 713 h 1850"/>
              <a:gd name="T4" fmla="*/ 7680 w 7680"/>
              <a:gd name="T5" fmla="*/ 1850 h 1850"/>
              <a:gd name="T6" fmla="*/ 7680 w 7680"/>
              <a:gd name="T7" fmla="*/ 0 h 1850"/>
              <a:gd name="T8" fmla="*/ 0 w 7680"/>
              <a:gd name="T9" fmla="*/ 0 h 1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80" h="1850">
                <a:moveTo>
                  <a:pt x="0" y="0"/>
                </a:moveTo>
                <a:cubicBezTo>
                  <a:pt x="0" y="0"/>
                  <a:pt x="649" y="713"/>
                  <a:pt x="2319" y="713"/>
                </a:cubicBezTo>
                <a:cubicBezTo>
                  <a:pt x="5172" y="713"/>
                  <a:pt x="4900" y="1850"/>
                  <a:pt x="7680" y="1850"/>
                </a:cubicBezTo>
                <a:cubicBezTo>
                  <a:pt x="7680" y="0"/>
                  <a:pt x="7680" y="0"/>
                  <a:pt x="7680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chemeClr val="bg1">
                  <a:alpha val="1000"/>
                </a:schemeClr>
              </a:gs>
              <a:gs pos="0">
                <a:schemeClr val="bg1">
                  <a:alpha val="21000"/>
                </a:schemeClr>
              </a:gs>
            </a:gsLst>
            <a:lin ang="8400000" scaled="0"/>
            <a:tileRect/>
          </a:gra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755"/>
            <a:endParaRPr lang="en-US">
              <a:solidFill>
                <a:prstClr val="black"/>
              </a:solidFill>
            </a:endParaRPr>
          </a:p>
        </p:txBody>
      </p:sp>
      <p:sp>
        <p:nvSpPr>
          <p:cNvPr id="62" name="Freeform 9">
            <a:extLst>
              <a:ext uri="{FF2B5EF4-FFF2-40B4-BE49-F238E27FC236}">
                <a16:creationId xmlns:a16="http://schemas.microsoft.com/office/drawing/2014/main" xmlns="" id="{A58753A7-50CE-43FD-8337-9B132EAD17C5}"/>
              </a:ext>
            </a:extLst>
          </p:cNvPr>
          <p:cNvSpPr>
            <a:spLocks/>
          </p:cNvSpPr>
          <p:nvPr/>
        </p:nvSpPr>
        <p:spPr bwMode="auto">
          <a:xfrm rot="10800000">
            <a:off x="1" y="3317649"/>
            <a:ext cx="5317672" cy="3540351"/>
          </a:xfrm>
          <a:custGeom>
            <a:avLst/>
            <a:gdLst>
              <a:gd name="T0" fmla="*/ 0 w 7680"/>
              <a:gd name="T1" fmla="*/ 0 h 1850"/>
              <a:gd name="T2" fmla="*/ 2319 w 7680"/>
              <a:gd name="T3" fmla="*/ 713 h 1850"/>
              <a:gd name="T4" fmla="*/ 7680 w 7680"/>
              <a:gd name="T5" fmla="*/ 1850 h 1850"/>
              <a:gd name="T6" fmla="*/ 7680 w 7680"/>
              <a:gd name="T7" fmla="*/ 0 h 1850"/>
              <a:gd name="T8" fmla="*/ 0 w 7680"/>
              <a:gd name="T9" fmla="*/ 0 h 1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80" h="1850">
                <a:moveTo>
                  <a:pt x="0" y="0"/>
                </a:moveTo>
                <a:cubicBezTo>
                  <a:pt x="0" y="0"/>
                  <a:pt x="649" y="713"/>
                  <a:pt x="2319" y="713"/>
                </a:cubicBezTo>
                <a:cubicBezTo>
                  <a:pt x="5172" y="713"/>
                  <a:pt x="4900" y="1850"/>
                  <a:pt x="7680" y="1850"/>
                </a:cubicBezTo>
                <a:cubicBezTo>
                  <a:pt x="7680" y="0"/>
                  <a:pt x="7680" y="0"/>
                  <a:pt x="7680" y="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0">
                <a:schemeClr val="bg1">
                  <a:alpha val="1000"/>
                </a:schemeClr>
              </a:gs>
              <a:gs pos="0">
                <a:schemeClr val="bg1">
                  <a:alpha val="21000"/>
                </a:schemeClr>
              </a:gs>
            </a:gsLst>
            <a:lin ang="8400000" scaled="0"/>
            <a:tileRect/>
          </a:gradFill>
          <a:ln w="635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755"/>
            <a:endParaRPr lang="en-US">
              <a:solidFill>
                <a:prstClr val="black"/>
              </a:solidFill>
            </a:endParaRPr>
          </a:p>
        </p:txBody>
      </p:sp>
      <p:pic>
        <p:nvPicPr>
          <p:cNvPr id="18" name="Picture 2" descr="http://www.airiti.com/tw/One-Page/assets/img/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6981" y="6048919"/>
            <a:ext cx="1140923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文字方塊 14"/>
          <p:cNvSpPr txBox="1"/>
          <p:nvPr/>
        </p:nvSpPr>
        <p:spPr>
          <a:xfrm>
            <a:off x="2279625" y="3429000"/>
            <a:ext cx="45688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20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有任何疑問，歡迎</a:t>
            </a:r>
            <a:r>
              <a:rPr lang="zh-TW" altLang="en-US" sz="20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與我們的客</a:t>
            </a:r>
            <a:r>
              <a:rPr lang="zh-TW" altLang="en-US" sz="20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服聯繫 </a:t>
            </a:r>
            <a:r>
              <a:rPr lang="en-US" altLang="zh-TW" sz="20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</a:t>
            </a:r>
            <a:endParaRPr lang="en-US" altLang="zh-TW" sz="20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6" name="文字方塊 15"/>
          <p:cNvSpPr txBox="1"/>
          <p:nvPr/>
        </p:nvSpPr>
        <p:spPr>
          <a:xfrm>
            <a:off x="2872105" y="4953000"/>
            <a:ext cx="3597460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sz="14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服專線</a:t>
            </a:r>
            <a:r>
              <a:rPr lang="zh-TW" altLang="en-US" sz="14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r>
              <a:rPr lang="en-US" altLang="zh-TW" sz="14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0800-000-747 </a:t>
            </a:r>
          </a:p>
          <a:p>
            <a:pPr>
              <a:lnSpc>
                <a:spcPct val="150000"/>
              </a:lnSpc>
            </a:pPr>
            <a:r>
              <a:rPr lang="zh-TW" altLang="en-US" sz="14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服信箱</a:t>
            </a:r>
            <a:r>
              <a:rPr lang="zh-TW" altLang="en-US" sz="14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r>
              <a:rPr lang="en-US" altLang="zh-TW" sz="14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rId5"/>
              </a:rPr>
              <a:t>books@airiti.com</a:t>
            </a:r>
            <a:endParaRPr lang="en-US" altLang="zh-TW" sz="1400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sz="14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服務時間</a:t>
            </a:r>
            <a:r>
              <a:rPr lang="zh-TW" altLang="en-US" sz="14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週一至週五 </a:t>
            </a:r>
            <a:r>
              <a:rPr lang="en-US" altLang="zh-TW" sz="14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M09:00-PM18:00</a:t>
            </a:r>
            <a:endParaRPr lang="en-US" altLang="zh-TW" sz="1400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236380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0" y="1650059"/>
            <a:ext cx="9144000" cy="52079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2" name="文字方塊 1"/>
          <p:cNvSpPr txBox="1"/>
          <p:nvPr/>
        </p:nvSpPr>
        <p:spPr>
          <a:xfrm>
            <a:off x="1068669" y="1968502"/>
            <a:ext cx="61057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Step 1 </a:t>
            </a:r>
            <a:r>
              <a:rPr lang="zh-TW" altLang="en-US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進入華藝電子書首頁，點擊「登入」</a:t>
            </a:r>
            <a:endParaRPr lang="zh-TW" altLang="en-US" sz="24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" name="文字方塊 4"/>
          <p:cNvSpPr txBox="1"/>
          <p:nvPr/>
        </p:nvSpPr>
        <p:spPr>
          <a:xfrm>
            <a:off x="1066800" y="2882900"/>
            <a:ext cx="31289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Step 2 </a:t>
            </a:r>
            <a:r>
              <a:rPr lang="zh-TW" altLang="en-US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輸入</a:t>
            </a:r>
            <a:r>
              <a:rPr lang="en-US" altLang="zh-TW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iriti</a:t>
            </a:r>
            <a:r>
              <a:rPr lang="zh-TW" altLang="en-US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帳密</a:t>
            </a:r>
            <a:endParaRPr lang="zh-TW" altLang="en-US" sz="24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" name="文字方塊 5"/>
          <p:cNvSpPr txBox="1"/>
          <p:nvPr/>
        </p:nvSpPr>
        <p:spPr>
          <a:xfrm>
            <a:off x="1081370" y="3810002"/>
            <a:ext cx="60480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Step 3 </a:t>
            </a:r>
            <a:r>
              <a:rPr lang="zh-TW" altLang="en-US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登入</a:t>
            </a:r>
            <a:r>
              <a:rPr lang="en-US" altLang="zh-TW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iriti</a:t>
            </a:r>
            <a:r>
              <a:rPr lang="zh-TW" altLang="en-US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帳密後，即可借閱電子書</a:t>
            </a:r>
            <a:r>
              <a:rPr lang="en-US" altLang="zh-TW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!</a:t>
            </a:r>
            <a:endParaRPr lang="zh-TW" altLang="en-US" sz="24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" name="文字方塊 6"/>
          <p:cNvSpPr txBox="1"/>
          <p:nvPr/>
        </p:nvSpPr>
        <p:spPr>
          <a:xfrm>
            <a:off x="2209800" y="4629090"/>
            <a:ext cx="58128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20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*可至單位電子書首頁最下方，查詢本館借閱規則</a:t>
            </a:r>
            <a:r>
              <a:rPr lang="en-US" altLang="zh-TW" sz="20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!</a:t>
            </a:r>
            <a:endParaRPr lang="zh-TW" altLang="en-US" sz="20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標題 3"/>
          <p:cNvSpPr>
            <a:spLocks noGrp="1"/>
          </p:cNvSpPr>
          <p:nvPr>
            <p:ph type="ctrTitle"/>
          </p:nvPr>
        </p:nvSpPr>
        <p:spPr>
          <a:xfrm>
            <a:off x="824162" y="228600"/>
            <a:ext cx="7772400" cy="862939"/>
          </a:xfrm>
        </p:spPr>
        <p:txBody>
          <a:bodyPr>
            <a:normAutofit/>
          </a:bodyPr>
          <a:lstStyle/>
          <a:p>
            <a:r>
              <a:rPr lang="zh-TW" altLang="en-US" sz="36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使用流程</a:t>
            </a:r>
            <a:endParaRPr lang="zh-TW" altLang="en-US" sz="36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2" name="Group 106">
            <a:extLst>
              <a:ext uri="{FF2B5EF4-FFF2-40B4-BE49-F238E27FC236}">
                <a16:creationId xmlns="" xmlns:a16="http://schemas.microsoft.com/office/drawing/2014/main" id="{D34E3A8A-BC6F-4A46-8EB1-A085CE22FD4B}"/>
              </a:ext>
            </a:extLst>
          </p:cNvPr>
          <p:cNvGrpSpPr/>
          <p:nvPr/>
        </p:nvGrpSpPr>
        <p:grpSpPr>
          <a:xfrm>
            <a:off x="1571760" y="453321"/>
            <a:ext cx="504000" cy="395999"/>
            <a:chOff x="1450975" y="793750"/>
            <a:chExt cx="277813" cy="266700"/>
          </a:xfrm>
          <a:solidFill>
            <a:schemeClr val="bg1"/>
          </a:solidFill>
        </p:grpSpPr>
        <p:sp>
          <p:nvSpPr>
            <p:cNvPr id="13" name="Freeform 659">
              <a:extLst>
                <a:ext uri="{FF2B5EF4-FFF2-40B4-BE49-F238E27FC236}">
                  <a16:creationId xmlns="" xmlns:a16="http://schemas.microsoft.com/office/drawing/2014/main" id="{B1031B31-D85B-42B5-A46C-B51727C4CA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975" y="822325"/>
              <a:ext cx="277813" cy="238125"/>
            </a:xfrm>
            <a:custGeom>
              <a:avLst/>
              <a:gdLst>
                <a:gd name="T0" fmla="*/ 813 w 873"/>
                <a:gd name="T1" fmla="*/ 557 h 752"/>
                <a:gd name="T2" fmla="*/ 811 w 873"/>
                <a:gd name="T3" fmla="*/ 565 h 752"/>
                <a:gd name="T4" fmla="*/ 805 w 873"/>
                <a:gd name="T5" fmla="*/ 571 h 752"/>
                <a:gd name="T6" fmla="*/ 558 w 873"/>
                <a:gd name="T7" fmla="*/ 572 h 752"/>
                <a:gd name="T8" fmla="*/ 538 w 873"/>
                <a:gd name="T9" fmla="*/ 576 h 752"/>
                <a:gd name="T10" fmla="*/ 518 w 873"/>
                <a:gd name="T11" fmla="*/ 587 h 752"/>
                <a:gd name="T12" fmla="*/ 502 w 873"/>
                <a:gd name="T13" fmla="*/ 604 h 752"/>
                <a:gd name="T14" fmla="*/ 489 w 873"/>
                <a:gd name="T15" fmla="*/ 627 h 752"/>
                <a:gd name="T16" fmla="*/ 483 w 873"/>
                <a:gd name="T17" fmla="*/ 653 h 752"/>
                <a:gd name="T18" fmla="*/ 481 w 873"/>
                <a:gd name="T19" fmla="*/ 668 h 752"/>
                <a:gd name="T20" fmla="*/ 475 w 873"/>
                <a:gd name="T21" fmla="*/ 675 h 752"/>
                <a:gd name="T22" fmla="*/ 468 w 873"/>
                <a:gd name="T23" fmla="*/ 677 h 752"/>
                <a:gd name="T24" fmla="*/ 401 w 873"/>
                <a:gd name="T25" fmla="*/ 676 h 752"/>
                <a:gd name="T26" fmla="*/ 395 w 873"/>
                <a:gd name="T27" fmla="*/ 671 h 752"/>
                <a:gd name="T28" fmla="*/ 392 w 873"/>
                <a:gd name="T29" fmla="*/ 662 h 752"/>
                <a:gd name="T30" fmla="*/ 388 w 873"/>
                <a:gd name="T31" fmla="*/ 635 h 752"/>
                <a:gd name="T32" fmla="*/ 377 w 873"/>
                <a:gd name="T33" fmla="*/ 612 h 752"/>
                <a:gd name="T34" fmla="*/ 359 w 873"/>
                <a:gd name="T35" fmla="*/ 592 h 752"/>
                <a:gd name="T36" fmla="*/ 337 w 873"/>
                <a:gd name="T37" fmla="*/ 579 h 752"/>
                <a:gd name="T38" fmla="*/ 311 w 873"/>
                <a:gd name="T39" fmla="*/ 572 h 752"/>
                <a:gd name="T40" fmla="*/ 73 w 873"/>
                <a:gd name="T41" fmla="*/ 572 h 752"/>
                <a:gd name="T42" fmla="*/ 66 w 873"/>
                <a:gd name="T43" fmla="*/ 568 h 752"/>
                <a:gd name="T44" fmla="*/ 61 w 873"/>
                <a:gd name="T45" fmla="*/ 560 h 752"/>
                <a:gd name="T46" fmla="*/ 15 w 873"/>
                <a:gd name="T47" fmla="*/ 1 h 752"/>
                <a:gd name="T48" fmla="*/ 8 w 873"/>
                <a:gd name="T49" fmla="*/ 3 h 752"/>
                <a:gd name="T50" fmla="*/ 2 w 873"/>
                <a:gd name="T51" fmla="*/ 11 h 752"/>
                <a:gd name="T52" fmla="*/ 0 w 873"/>
                <a:gd name="T53" fmla="*/ 617 h 752"/>
                <a:gd name="T54" fmla="*/ 3 w 873"/>
                <a:gd name="T55" fmla="*/ 625 h 752"/>
                <a:gd name="T56" fmla="*/ 10 w 873"/>
                <a:gd name="T57" fmla="*/ 631 h 752"/>
                <a:gd name="T58" fmla="*/ 241 w 873"/>
                <a:gd name="T59" fmla="*/ 632 h 752"/>
                <a:gd name="T60" fmla="*/ 275 w 873"/>
                <a:gd name="T61" fmla="*/ 635 h 752"/>
                <a:gd name="T62" fmla="*/ 306 w 873"/>
                <a:gd name="T63" fmla="*/ 646 h 752"/>
                <a:gd name="T64" fmla="*/ 333 w 873"/>
                <a:gd name="T65" fmla="*/ 664 h 752"/>
                <a:gd name="T66" fmla="*/ 352 w 873"/>
                <a:gd name="T67" fmla="*/ 690 h 752"/>
                <a:gd name="T68" fmla="*/ 362 w 873"/>
                <a:gd name="T69" fmla="*/ 724 h 752"/>
                <a:gd name="T70" fmla="*/ 363 w 873"/>
                <a:gd name="T71" fmla="*/ 743 h 752"/>
                <a:gd name="T72" fmla="*/ 368 w 873"/>
                <a:gd name="T73" fmla="*/ 750 h 752"/>
                <a:gd name="T74" fmla="*/ 377 w 873"/>
                <a:gd name="T75" fmla="*/ 752 h 752"/>
                <a:gd name="T76" fmla="*/ 503 w 873"/>
                <a:gd name="T77" fmla="*/ 751 h 752"/>
                <a:gd name="T78" fmla="*/ 510 w 873"/>
                <a:gd name="T79" fmla="*/ 746 h 752"/>
                <a:gd name="T80" fmla="*/ 513 w 873"/>
                <a:gd name="T81" fmla="*/ 737 h 752"/>
                <a:gd name="T82" fmla="*/ 518 w 873"/>
                <a:gd name="T83" fmla="*/ 701 h 752"/>
                <a:gd name="T84" fmla="*/ 534 w 873"/>
                <a:gd name="T85" fmla="*/ 673 h 752"/>
                <a:gd name="T86" fmla="*/ 559 w 873"/>
                <a:gd name="T87" fmla="*/ 651 h 752"/>
                <a:gd name="T88" fmla="*/ 589 w 873"/>
                <a:gd name="T89" fmla="*/ 638 h 752"/>
                <a:gd name="T90" fmla="*/ 621 w 873"/>
                <a:gd name="T91" fmla="*/ 633 h 752"/>
                <a:gd name="T92" fmla="*/ 861 w 873"/>
                <a:gd name="T93" fmla="*/ 632 h 752"/>
                <a:gd name="T94" fmla="*/ 869 w 873"/>
                <a:gd name="T95" fmla="*/ 628 h 752"/>
                <a:gd name="T96" fmla="*/ 873 w 873"/>
                <a:gd name="T97" fmla="*/ 620 h 752"/>
                <a:gd name="T98" fmla="*/ 873 w 873"/>
                <a:gd name="T99" fmla="*/ 12 h 752"/>
                <a:gd name="T100" fmla="*/ 869 w 873"/>
                <a:gd name="T101" fmla="*/ 4 h 752"/>
                <a:gd name="T102" fmla="*/ 861 w 873"/>
                <a:gd name="T103" fmla="*/ 0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73" h="752">
                  <a:moveTo>
                    <a:pt x="858" y="0"/>
                  </a:moveTo>
                  <a:lnTo>
                    <a:pt x="813" y="0"/>
                  </a:lnTo>
                  <a:lnTo>
                    <a:pt x="813" y="557"/>
                  </a:lnTo>
                  <a:lnTo>
                    <a:pt x="813" y="560"/>
                  </a:lnTo>
                  <a:lnTo>
                    <a:pt x="812" y="562"/>
                  </a:lnTo>
                  <a:lnTo>
                    <a:pt x="811" y="565"/>
                  </a:lnTo>
                  <a:lnTo>
                    <a:pt x="809" y="568"/>
                  </a:lnTo>
                  <a:lnTo>
                    <a:pt x="807" y="570"/>
                  </a:lnTo>
                  <a:lnTo>
                    <a:pt x="805" y="571"/>
                  </a:lnTo>
                  <a:lnTo>
                    <a:pt x="801" y="572"/>
                  </a:lnTo>
                  <a:lnTo>
                    <a:pt x="798" y="572"/>
                  </a:lnTo>
                  <a:lnTo>
                    <a:pt x="558" y="572"/>
                  </a:lnTo>
                  <a:lnTo>
                    <a:pt x="551" y="572"/>
                  </a:lnTo>
                  <a:lnTo>
                    <a:pt x="544" y="574"/>
                  </a:lnTo>
                  <a:lnTo>
                    <a:pt x="538" y="576"/>
                  </a:lnTo>
                  <a:lnTo>
                    <a:pt x="531" y="579"/>
                  </a:lnTo>
                  <a:lnTo>
                    <a:pt x="525" y="583"/>
                  </a:lnTo>
                  <a:lnTo>
                    <a:pt x="518" y="587"/>
                  </a:lnTo>
                  <a:lnTo>
                    <a:pt x="513" y="592"/>
                  </a:lnTo>
                  <a:lnTo>
                    <a:pt x="506" y="598"/>
                  </a:lnTo>
                  <a:lnTo>
                    <a:pt x="502" y="604"/>
                  </a:lnTo>
                  <a:lnTo>
                    <a:pt x="497" y="612"/>
                  </a:lnTo>
                  <a:lnTo>
                    <a:pt x="492" y="619"/>
                  </a:lnTo>
                  <a:lnTo>
                    <a:pt x="489" y="627"/>
                  </a:lnTo>
                  <a:lnTo>
                    <a:pt x="486" y="635"/>
                  </a:lnTo>
                  <a:lnTo>
                    <a:pt x="484" y="644"/>
                  </a:lnTo>
                  <a:lnTo>
                    <a:pt x="483" y="653"/>
                  </a:lnTo>
                  <a:lnTo>
                    <a:pt x="483" y="662"/>
                  </a:lnTo>
                  <a:lnTo>
                    <a:pt x="482" y="665"/>
                  </a:lnTo>
                  <a:lnTo>
                    <a:pt x="481" y="668"/>
                  </a:lnTo>
                  <a:lnTo>
                    <a:pt x="480" y="671"/>
                  </a:lnTo>
                  <a:lnTo>
                    <a:pt x="477" y="673"/>
                  </a:lnTo>
                  <a:lnTo>
                    <a:pt x="475" y="675"/>
                  </a:lnTo>
                  <a:lnTo>
                    <a:pt x="473" y="676"/>
                  </a:lnTo>
                  <a:lnTo>
                    <a:pt x="470" y="677"/>
                  </a:lnTo>
                  <a:lnTo>
                    <a:pt x="468" y="677"/>
                  </a:lnTo>
                  <a:lnTo>
                    <a:pt x="407" y="677"/>
                  </a:lnTo>
                  <a:lnTo>
                    <a:pt x="405" y="677"/>
                  </a:lnTo>
                  <a:lnTo>
                    <a:pt x="401" y="676"/>
                  </a:lnTo>
                  <a:lnTo>
                    <a:pt x="399" y="675"/>
                  </a:lnTo>
                  <a:lnTo>
                    <a:pt x="396" y="673"/>
                  </a:lnTo>
                  <a:lnTo>
                    <a:pt x="395" y="671"/>
                  </a:lnTo>
                  <a:lnTo>
                    <a:pt x="393" y="668"/>
                  </a:lnTo>
                  <a:lnTo>
                    <a:pt x="393" y="665"/>
                  </a:lnTo>
                  <a:lnTo>
                    <a:pt x="392" y="662"/>
                  </a:lnTo>
                  <a:lnTo>
                    <a:pt x="392" y="653"/>
                  </a:lnTo>
                  <a:lnTo>
                    <a:pt x="391" y="644"/>
                  </a:lnTo>
                  <a:lnTo>
                    <a:pt x="388" y="635"/>
                  </a:lnTo>
                  <a:lnTo>
                    <a:pt x="385" y="627"/>
                  </a:lnTo>
                  <a:lnTo>
                    <a:pt x="381" y="619"/>
                  </a:lnTo>
                  <a:lnTo>
                    <a:pt x="377" y="612"/>
                  </a:lnTo>
                  <a:lnTo>
                    <a:pt x="371" y="604"/>
                  </a:lnTo>
                  <a:lnTo>
                    <a:pt x="366" y="598"/>
                  </a:lnTo>
                  <a:lnTo>
                    <a:pt x="359" y="592"/>
                  </a:lnTo>
                  <a:lnTo>
                    <a:pt x="352" y="587"/>
                  </a:lnTo>
                  <a:lnTo>
                    <a:pt x="346" y="583"/>
                  </a:lnTo>
                  <a:lnTo>
                    <a:pt x="337" y="579"/>
                  </a:lnTo>
                  <a:lnTo>
                    <a:pt x="328" y="576"/>
                  </a:lnTo>
                  <a:lnTo>
                    <a:pt x="320" y="574"/>
                  </a:lnTo>
                  <a:lnTo>
                    <a:pt x="311" y="572"/>
                  </a:lnTo>
                  <a:lnTo>
                    <a:pt x="302" y="572"/>
                  </a:lnTo>
                  <a:lnTo>
                    <a:pt x="76" y="572"/>
                  </a:lnTo>
                  <a:lnTo>
                    <a:pt x="73" y="572"/>
                  </a:lnTo>
                  <a:lnTo>
                    <a:pt x="70" y="571"/>
                  </a:lnTo>
                  <a:lnTo>
                    <a:pt x="68" y="570"/>
                  </a:lnTo>
                  <a:lnTo>
                    <a:pt x="66" y="568"/>
                  </a:lnTo>
                  <a:lnTo>
                    <a:pt x="63" y="565"/>
                  </a:lnTo>
                  <a:lnTo>
                    <a:pt x="62" y="562"/>
                  </a:lnTo>
                  <a:lnTo>
                    <a:pt x="61" y="560"/>
                  </a:lnTo>
                  <a:lnTo>
                    <a:pt x="61" y="557"/>
                  </a:lnTo>
                  <a:lnTo>
                    <a:pt x="61" y="1"/>
                  </a:lnTo>
                  <a:lnTo>
                    <a:pt x="15" y="1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6" y="5"/>
                  </a:lnTo>
                  <a:lnTo>
                    <a:pt x="3" y="8"/>
                  </a:lnTo>
                  <a:lnTo>
                    <a:pt x="2" y="11"/>
                  </a:lnTo>
                  <a:lnTo>
                    <a:pt x="1" y="13"/>
                  </a:lnTo>
                  <a:lnTo>
                    <a:pt x="0" y="16"/>
                  </a:lnTo>
                  <a:lnTo>
                    <a:pt x="0" y="617"/>
                  </a:lnTo>
                  <a:lnTo>
                    <a:pt x="1" y="620"/>
                  </a:lnTo>
                  <a:lnTo>
                    <a:pt x="2" y="623"/>
                  </a:lnTo>
                  <a:lnTo>
                    <a:pt x="3" y="625"/>
                  </a:lnTo>
                  <a:lnTo>
                    <a:pt x="6" y="628"/>
                  </a:lnTo>
                  <a:lnTo>
                    <a:pt x="8" y="630"/>
                  </a:lnTo>
                  <a:lnTo>
                    <a:pt x="10" y="631"/>
                  </a:lnTo>
                  <a:lnTo>
                    <a:pt x="13" y="632"/>
                  </a:lnTo>
                  <a:lnTo>
                    <a:pt x="15" y="632"/>
                  </a:lnTo>
                  <a:lnTo>
                    <a:pt x="241" y="632"/>
                  </a:lnTo>
                  <a:lnTo>
                    <a:pt x="252" y="633"/>
                  </a:lnTo>
                  <a:lnTo>
                    <a:pt x="264" y="634"/>
                  </a:lnTo>
                  <a:lnTo>
                    <a:pt x="275" y="635"/>
                  </a:lnTo>
                  <a:lnTo>
                    <a:pt x="285" y="638"/>
                  </a:lnTo>
                  <a:lnTo>
                    <a:pt x="296" y="642"/>
                  </a:lnTo>
                  <a:lnTo>
                    <a:pt x="306" y="646"/>
                  </a:lnTo>
                  <a:lnTo>
                    <a:pt x="315" y="651"/>
                  </a:lnTo>
                  <a:lnTo>
                    <a:pt x="324" y="658"/>
                  </a:lnTo>
                  <a:lnTo>
                    <a:pt x="333" y="664"/>
                  </a:lnTo>
                  <a:lnTo>
                    <a:pt x="339" y="673"/>
                  </a:lnTo>
                  <a:lnTo>
                    <a:pt x="346" y="681"/>
                  </a:lnTo>
                  <a:lnTo>
                    <a:pt x="352" y="690"/>
                  </a:lnTo>
                  <a:lnTo>
                    <a:pt x="356" y="701"/>
                  </a:lnTo>
                  <a:lnTo>
                    <a:pt x="359" y="712"/>
                  </a:lnTo>
                  <a:lnTo>
                    <a:pt x="362" y="724"/>
                  </a:lnTo>
                  <a:lnTo>
                    <a:pt x="362" y="737"/>
                  </a:lnTo>
                  <a:lnTo>
                    <a:pt x="363" y="740"/>
                  </a:lnTo>
                  <a:lnTo>
                    <a:pt x="363" y="743"/>
                  </a:lnTo>
                  <a:lnTo>
                    <a:pt x="365" y="746"/>
                  </a:lnTo>
                  <a:lnTo>
                    <a:pt x="366" y="748"/>
                  </a:lnTo>
                  <a:lnTo>
                    <a:pt x="368" y="750"/>
                  </a:lnTo>
                  <a:lnTo>
                    <a:pt x="371" y="751"/>
                  </a:lnTo>
                  <a:lnTo>
                    <a:pt x="373" y="752"/>
                  </a:lnTo>
                  <a:lnTo>
                    <a:pt x="377" y="752"/>
                  </a:lnTo>
                  <a:lnTo>
                    <a:pt x="498" y="752"/>
                  </a:lnTo>
                  <a:lnTo>
                    <a:pt x="500" y="752"/>
                  </a:lnTo>
                  <a:lnTo>
                    <a:pt x="503" y="751"/>
                  </a:lnTo>
                  <a:lnTo>
                    <a:pt x="505" y="750"/>
                  </a:lnTo>
                  <a:lnTo>
                    <a:pt x="507" y="748"/>
                  </a:lnTo>
                  <a:lnTo>
                    <a:pt x="510" y="746"/>
                  </a:lnTo>
                  <a:lnTo>
                    <a:pt x="512" y="743"/>
                  </a:lnTo>
                  <a:lnTo>
                    <a:pt x="512" y="740"/>
                  </a:lnTo>
                  <a:lnTo>
                    <a:pt x="513" y="737"/>
                  </a:lnTo>
                  <a:lnTo>
                    <a:pt x="513" y="724"/>
                  </a:lnTo>
                  <a:lnTo>
                    <a:pt x="515" y="712"/>
                  </a:lnTo>
                  <a:lnTo>
                    <a:pt x="518" y="701"/>
                  </a:lnTo>
                  <a:lnTo>
                    <a:pt x="522" y="690"/>
                  </a:lnTo>
                  <a:lnTo>
                    <a:pt x="528" y="681"/>
                  </a:lnTo>
                  <a:lnTo>
                    <a:pt x="534" y="673"/>
                  </a:lnTo>
                  <a:lnTo>
                    <a:pt x="542" y="664"/>
                  </a:lnTo>
                  <a:lnTo>
                    <a:pt x="550" y="658"/>
                  </a:lnTo>
                  <a:lnTo>
                    <a:pt x="559" y="651"/>
                  </a:lnTo>
                  <a:lnTo>
                    <a:pt x="569" y="646"/>
                  </a:lnTo>
                  <a:lnTo>
                    <a:pt x="578" y="642"/>
                  </a:lnTo>
                  <a:lnTo>
                    <a:pt x="589" y="638"/>
                  </a:lnTo>
                  <a:lnTo>
                    <a:pt x="600" y="635"/>
                  </a:lnTo>
                  <a:lnTo>
                    <a:pt x="610" y="634"/>
                  </a:lnTo>
                  <a:lnTo>
                    <a:pt x="621" y="633"/>
                  </a:lnTo>
                  <a:lnTo>
                    <a:pt x="633" y="632"/>
                  </a:lnTo>
                  <a:lnTo>
                    <a:pt x="858" y="632"/>
                  </a:lnTo>
                  <a:lnTo>
                    <a:pt x="861" y="632"/>
                  </a:lnTo>
                  <a:lnTo>
                    <a:pt x="865" y="631"/>
                  </a:lnTo>
                  <a:lnTo>
                    <a:pt x="867" y="630"/>
                  </a:lnTo>
                  <a:lnTo>
                    <a:pt x="869" y="628"/>
                  </a:lnTo>
                  <a:lnTo>
                    <a:pt x="871" y="625"/>
                  </a:lnTo>
                  <a:lnTo>
                    <a:pt x="872" y="623"/>
                  </a:lnTo>
                  <a:lnTo>
                    <a:pt x="873" y="620"/>
                  </a:lnTo>
                  <a:lnTo>
                    <a:pt x="873" y="617"/>
                  </a:lnTo>
                  <a:lnTo>
                    <a:pt x="873" y="15"/>
                  </a:lnTo>
                  <a:lnTo>
                    <a:pt x="873" y="12"/>
                  </a:lnTo>
                  <a:lnTo>
                    <a:pt x="872" y="9"/>
                  </a:lnTo>
                  <a:lnTo>
                    <a:pt x="871" y="7"/>
                  </a:lnTo>
                  <a:lnTo>
                    <a:pt x="869" y="4"/>
                  </a:lnTo>
                  <a:lnTo>
                    <a:pt x="867" y="2"/>
                  </a:lnTo>
                  <a:lnTo>
                    <a:pt x="865" y="1"/>
                  </a:lnTo>
                  <a:lnTo>
                    <a:pt x="861" y="0"/>
                  </a:lnTo>
                  <a:lnTo>
                    <a:pt x="8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" name="Freeform 660">
              <a:extLst>
                <a:ext uri="{FF2B5EF4-FFF2-40B4-BE49-F238E27FC236}">
                  <a16:creationId xmlns="" xmlns:a16="http://schemas.microsoft.com/office/drawing/2014/main" id="{6BDD8C20-962E-4C9B-A27A-8EA15D7E5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5438" y="793750"/>
              <a:ext cx="104775" cy="233363"/>
            </a:xfrm>
            <a:custGeom>
              <a:avLst/>
              <a:gdLst>
                <a:gd name="T0" fmla="*/ 106 w 331"/>
                <a:gd name="T1" fmla="*/ 633 h 738"/>
                <a:gd name="T2" fmla="*/ 316 w 331"/>
                <a:gd name="T3" fmla="*/ 633 h 738"/>
                <a:gd name="T4" fmla="*/ 331 w 331"/>
                <a:gd name="T5" fmla="*/ 633 h 738"/>
                <a:gd name="T6" fmla="*/ 331 w 331"/>
                <a:gd name="T7" fmla="*/ 618 h 738"/>
                <a:gd name="T8" fmla="*/ 331 w 331"/>
                <a:gd name="T9" fmla="*/ 16 h 738"/>
                <a:gd name="T10" fmla="*/ 331 w 331"/>
                <a:gd name="T11" fmla="*/ 13 h 738"/>
                <a:gd name="T12" fmla="*/ 330 w 331"/>
                <a:gd name="T13" fmla="*/ 10 h 738"/>
                <a:gd name="T14" fmla="*/ 329 w 331"/>
                <a:gd name="T15" fmla="*/ 7 h 738"/>
                <a:gd name="T16" fmla="*/ 327 w 331"/>
                <a:gd name="T17" fmla="*/ 5 h 738"/>
                <a:gd name="T18" fmla="*/ 325 w 331"/>
                <a:gd name="T19" fmla="*/ 3 h 738"/>
                <a:gd name="T20" fmla="*/ 323 w 331"/>
                <a:gd name="T21" fmla="*/ 2 h 738"/>
                <a:gd name="T22" fmla="*/ 319 w 331"/>
                <a:gd name="T23" fmla="*/ 1 h 738"/>
                <a:gd name="T24" fmla="*/ 316 w 331"/>
                <a:gd name="T25" fmla="*/ 1 h 738"/>
                <a:gd name="T26" fmla="*/ 106 w 331"/>
                <a:gd name="T27" fmla="*/ 0 h 738"/>
                <a:gd name="T28" fmla="*/ 97 w 331"/>
                <a:gd name="T29" fmla="*/ 1 h 738"/>
                <a:gd name="T30" fmla="*/ 89 w 331"/>
                <a:gd name="T31" fmla="*/ 2 h 738"/>
                <a:gd name="T32" fmla="*/ 86 w 331"/>
                <a:gd name="T33" fmla="*/ 2 h 738"/>
                <a:gd name="T34" fmla="*/ 82 w 331"/>
                <a:gd name="T35" fmla="*/ 3 h 738"/>
                <a:gd name="T36" fmla="*/ 77 w 331"/>
                <a:gd name="T37" fmla="*/ 3 h 738"/>
                <a:gd name="T38" fmla="*/ 73 w 331"/>
                <a:gd name="T39" fmla="*/ 4 h 738"/>
                <a:gd name="T40" fmla="*/ 68 w 331"/>
                <a:gd name="T41" fmla="*/ 5 h 738"/>
                <a:gd name="T42" fmla="*/ 64 w 331"/>
                <a:gd name="T43" fmla="*/ 7 h 738"/>
                <a:gd name="T44" fmla="*/ 61 w 331"/>
                <a:gd name="T45" fmla="*/ 9 h 738"/>
                <a:gd name="T46" fmla="*/ 57 w 331"/>
                <a:gd name="T47" fmla="*/ 10 h 738"/>
                <a:gd name="T48" fmla="*/ 52 w 331"/>
                <a:gd name="T49" fmla="*/ 12 h 738"/>
                <a:gd name="T50" fmla="*/ 48 w 331"/>
                <a:gd name="T51" fmla="*/ 13 h 738"/>
                <a:gd name="T52" fmla="*/ 45 w 331"/>
                <a:gd name="T53" fmla="*/ 15 h 738"/>
                <a:gd name="T54" fmla="*/ 42 w 331"/>
                <a:gd name="T55" fmla="*/ 17 h 738"/>
                <a:gd name="T56" fmla="*/ 37 w 331"/>
                <a:gd name="T57" fmla="*/ 19 h 738"/>
                <a:gd name="T58" fmla="*/ 34 w 331"/>
                <a:gd name="T59" fmla="*/ 21 h 738"/>
                <a:gd name="T60" fmla="*/ 30 w 331"/>
                <a:gd name="T61" fmla="*/ 24 h 738"/>
                <a:gd name="T62" fmla="*/ 25 w 331"/>
                <a:gd name="T63" fmla="*/ 27 h 738"/>
                <a:gd name="T64" fmla="*/ 23 w 331"/>
                <a:gd name="T65" fmla="*/ 28 h 738"/>
                <a:gd name="T66" fmla="*/ 20 w 331"/>
                <a:gd name="T67" fmla="*/ 30 h 738"/>
                <a:gd name="T68" fmla="*/ 9 w 331"/>
                <a:gd name="T69" fmla="*/ 40 h 738"/>
                <a:gd name="T70" fmla="*/ 0 w 331"/>
                <a:gd name="T71" fmla="*/ 50 h 738"/>
                <a:gd name="T72" fmla="*/ 0 w 331"/>
                <a:gd name="T73" fmla="*/ 738 h 738"/>
                <a:gd name="T74" fmla="*/ 1 w 331"/>
                <a:gd name="T75" fmla="*/ 738 h 738"/>
                <a:gd name="T76" fmla="*/ 3 w 331"/>
                <a:gd name="T77" fmla="*/ 727 h 738"/>
                <a:gd name="T78" fmla="*/ 6 w 331"/>
                <a:gd name="T79" fmla="*/ 716 h 738"/>
                <a:gd name="T80" fmla="*/ 9 w 331"/>
                <a:gd name="T81" fmla="*/ 706 h 738"/>
                <a:gd name="T82" fmla="*/ 14 w 331"/>
                <a:gd name="T83" fmla="*/ 696 h 738"/>
                <a:gd name="T84" fmla="*/ 19 w 331"/>
                <a:gd name="T85" fmla="*/ 686 h 738"/>
                <a:gd name="T86" fmla="*/ 25 w 331"/>
                <a:gd name="T87" fmla="*/ 678 h 738"/>
                <a:gd name="T88" fmla="*/ 32 w 331"/>
                <a:gd name="T89" fmla="*/ 670 h 738"/>
                <a:gd name="T90" fmla="*/ 38 w 331"/>
                <a:gd name="T91" fmla="*/ 663 h 738"/>
                <a:gd name="T92" fmla="*/ 46 w 331"/>
                <a:gd name="T93" fmla="*/ 655 h 738"/>
                <a:gd name="T94" fmla="*/ 54 w 331"/>
                <a:gd name="T95" fmla="*/ 650 h 738"/>
                <a:gd name="T96" fmla="*/ 62 w 331"/>
                <a:gd name="T97" fmla="*/ 645 h 738"/>
                <a:gd name="T98" fmla="*/ 70 w 331"/>
                <a:gd name="T99" fmla="*/ 640 h 738"/>
                <a:gd name="T100" fmla="*/ 79 w 331"/>
                <a:gd name="T101" fmla="*/ 637 h 738"/>
                <a:gd name="T102" fmla="*/ 88 w 331"/>
                <a:gd name="T103" fmla="*/ 635 h 738"/>
                <a:gd name="T104" fmla="*/ 97 w 331"/>
                <a:gd name="T105" fmla="*/ 633 h 738"/>
                <a:gd name="T106" fmla="*/ 106 w 331"/>
                <a:gd name="T107" fmla="*/ 633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1" h="738">
                  <a:moveTo>
                    <a:pt x="106" y="633"/>
                  </a:moveTo>
                  <a:lnTo>
                    <a:pt x="316" y="633"/>
                  </a:lnTo>
                  <a:lnTo>
                    <a:pt x="331" y="633"/>
                  </a:lnTo>
                  <a:lnTo>
                    <a:pt x="331" y="618"/>
                  </a:lnTo>
                  <a:lnTo>
                    <a:pt x="331" y="16"/>
                  </a:lnTo>
                  <a:lnTo>
                    <a:pt x="331" y="13"/>
                  </a:lnTo>
                  <a:lnTo>
                    <a:pt x="330" y="10"/>
                  </a:lnTo>
                  <a:lnTo>
                    <a:pt x="329" y="7"/>
                  </a:lnTo>
                  <a:lnTo>
                    <a:pt x="327" y="5"/>
                  </a:lnTo>
                  <a:lnTo>
                    <a:pt x="325" y="3"/>
                  </a:lnTo>
                  <a:lnTo>
                    <a:pt x="323" y="2"/>
                  </a:lnTo>
                  <a:lnTo>
                    <a:pt x="319" y="1"/>
                  </a:lnTo>
                  <a:lnTo>
                    <a:pt x="316" y="1"/>
                  </a:lnTo>
                  <a:lnTo>
                    <a:pt x="106" y="0"/>
                  </a:lnTo>
                  <a:lnTo>
                    <a:pt x="97" y="1"/>
                  </a:lnTo>
                  <a:lnTo>
                    <a:pt x="89" y="2"/>
                  </a:lnTo>
                  <a:lnTo>
                    <a:pt x="86" y="2"/>
                  </a:lnTo>
                  <a:lnTo>
                    <a:pt x="82" y="3"/>
                  </a:lnTo>
                  <a:lnTo>
                    <a:pt x="77" y="3"/>
                  </a:lnTo>
                  <a:lnTo>
                    <a:pt x="73" y="4"/>
                  </a:lnTo>
                  <a:lnTo>
                    <a:pt x="68" y="5"/>
                  </a:lnTo>
                  <a:lnTo>
                    <a:pt x="64" y="7"/>
                  </a:lnTo>
                  <a:lnTo>
                    <a:pt x="61" y="9"/>
                  </a:lnTo>
                  <a:lnTo>
                    <a:pt x="57" y="10"/>
                  </a:lnTo>
                  <a:lnTo>
                    <a:pt x="52" y="12"/>
                  </a:lnTo>
                  <a:lnTo>
                    <a:pt x="48" y="13"/>
                  </a:lnTo>
                  <a:lnTo>
                    <a:pt x="45" y="15"/>
                  </a:lnTo>
                  <a:lnTo>
                    <a:pt x="42" y="17"/>
                  </a:lnTo>
                  <a:lnTo>
                    <a:pt x="37" y="19"/>
                  </a:lnTo>
                  <a:lnTo>
                    <a:pt x="34" y="21"/>
                  </a:lnTo>
                  <a:lnTo>
                    <a:pt x="30" y="24"/>
                  </a:lnTo>
                  <a:lnTo>
                    <a:pt x="25" y="27"/>
                  </a:lnTo>
                  <a:lnTo>
                    <a:pt x="23" y="28"/>
                  </a:lnTo>
                  <a:lnTo>
                    <a:pt x="20" y="30"/>
                  </a:lnTo>
                  <a:lnTo>
                    <a:pt x="9" y="40"/>
                  </a:lnTo>
                  <a:lnTo>
                    <a:pt x="0" y="50"/>
                  </a:lnTo>
                  <a:lnTo>
                    <a:pt x="0" y="738"/>
                  </a:lnTo>
                  <a:lnTo>
                    <a:pt x="1" y="738"/>
                  </a:lnTo>
                  <a:lnTo>
                    <a:pt x="3" y="727"/>
                  </a:lnTo>
                  <a:lnTo>
                    <a:pt x="6" y="716"/>
                  </a:lnTo>
                  <a:lnTo>
                    <a:pt x="9" y="706"/>
                  </a:lnTo>
                  <a:lnTo>
                    <a:pt x="14" y="696"/>
                  </a:lnTo>
                  <a:lnTo>
                    <a:pt x="19" y="686"/>
                  </a:lnTo>
                  <a:lnTo>
                    <a:pt x="25" y="678"/>
                  </a:lnTo>
                  <a:lnTo>
                    <a:pt x="32" y="670"/>
                  </a:lnTo>
                  <a:lnTo>
                    <a:pt x="38" y="663"/>
                  </a:lnTo>
                  <a:lnTo>
                    <a:pt x="46" y="655"/>
                  </a:lnTo>
                  <a:lnTo>
                    <a:pt x="54" y="650"/>
                  </a:lnTo>
                  <a:lnTo>
                    <a:pt x="62" y="645"/>
                  </a:lnTo>
                  <a:lnTo>
                    <a:pt x="70" y="640"/>
                  </a:lnTo>
                  <a:lnTo>
                    <a:pt x="79" y="637"/>
                  </a:lnTo>
                  <a:lnTo>
                    <a:pt x="88" y="635"/>
                  </a:lnTo>
                  <a:lnTo>
                    <a:pt x="97" y="633"/>
                  </a:lnTo>
                  <a:lnTo>
                    <a:pt x="106" y="6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661">
              <a:extLst>
                <a:ext uri="{FF2B5EF4-FFF2-40B4-BE49-F238E27FC236}">
                  <a16:creationId xmlns="" xmlns:a16="http://schemas.microsoft.com/office/drawing/2014/main" id="{0D281D4D-3B36-4FCE-B299-76AF7E7D0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457" y="793753"/>
              <a:ext cx="104775" cy="233364"/>
            </a:xfrm>
            <a:custGeom>
              <a:avLst/>
              <a:gdLst>
                <a:gd name="T0" fmla="*/ 211 w 331"/>
                <a:gd name="T1" fmla="*/ 633 h 738"/>
                <a:gd name="T2" fmla="*/ 222 w 331"/>
                <a:gd name="T3" fmla="*/ 633 h 738"/>
                <a:gd name="T4" fmla="*/ 233 w 331"/>
                <a:gd name="T5" fmla="*/ 635 h 738"/>
                <a:gd name="T6" fmla="*/ 244 w 331"/>
                <a:gd name="T7" fmla="*/ 637 h 738"/>
                <a:gd name="T8" fmla="*/ 255 w 331"/>
                <a:gd name="T9" fmla="*/ 640 h 738"/>
                <a:gd name="T10" fmla="*/ 264 w 331"/>
                <a:gd name="T11" fmla="*/ 645 h 738"/>
                <a:gd name="T12" fmla="*/ 274 w 331"/>
                <a:gd name="T13" fmla="*/ 650 h 738"/>
                <a:gd name="T14" fmla="*/ 282 w 331"/>
                <a:gd name="T15" fmla="*/ 656 h 738"/>
                <a:gd name="T16" fmla="*/ 291 w 331"/>
                <a:gd name="T17" fmla="*/ 663 h 738"/>
                <a:gd name="T18" fmla="*/ 298 w 331"/>
                <a:gd name="T19" fmla="*/ 670 h 738"/>
                <a:gd name="T20" fmla="*/ 306 w 331"/>
                <a:gd name="T21" fmla="*/ 678 h 738"/>
                <a:gd name="T22" fmla="*/ 311 w 331"/>
                <a:gd name="T23" fmla="*/ 687 h 738"/>
                <a:gd name="T24" fmla="*/ 317 w 331"/>
                <a:gd name="T25" fmla="*/ 696 h 738"/>
                <a:gd name="T26" fmla="*/ 322 w 331"/>
                <a:gd name="T27" fmla="*/ 706 h 738"/>
                <a:gd name="T28" fmla="*/ 325 w 331"/>
                <a:gd name="T29" fmla="*/ 716 h 738"/>
                <a:gd name="T30" fmla="*/ 329 w 331"/>
                <a:gd name="T31" fmla="*/ 727 h 738"/>
                <a:gd name="T32" fmla="*/ 331 w 331"/>
                <a:gd name="T33" fmla="*/ 738 h 738"/>
                <a:gd name="T34" fmla="*/ 331 w 331"/>
                <a:gd name="T35" fmla="*/ 738 h 738"/>
                <a:gd name="T36" fmla="*/ 331 w 331"/>
                <a:gd name="T37" fmla="*/ 50 h 738"/>
                <a:gd name="T38" fmla="*/ 322 w 331"/>
                <a:gd name="T39" fmla="*/ 40 h 738"/>
                <a:gd name="T40" fmla="*/ 311 w 331"/>
                <a:gd name="T41" fmla="*/ 30 h 738"/>
                <a:gd name="T42" fmla="*/ 308 w 331"/>
                <a:gd name="T43" fmla="*/ 28 h 738"/>
                <a:gd name="T44" fmla="*/ 305 w 331"/>
                <a:gd name="T45" fmla="*/ 27 h 738"/>
                <a:gd name="T46" fmla="*/ 302 w 331"/>
                <a:gd name="T47" fmla="*/ 24 h 738"/>
                <a:gd name="T48" fmla="*/ 297 w 331"/>
                <a:gd name="T49" fmla="*/ 21 h 738"/>
                <a:gd name="T50" fmla="*/ 294 w 331"/>
                <a:gd name="T51" fmla="*/ 19 h 738"/>
                <a:gd name="T52" fmla="*/ 290 w 331"/>
                <a:gd name="T53" fmla="*/ 17 h 738"/>
                <a:gd name="T54" fmla="*/ 287 w 331"/>
                <a:gd name="T55" fmla="*/ 15 h 738"/>
                <a:gd name="T56" fmla="*/ 282 w 331"/>
                <a:gd name="T57" fmla="*/ 13 h 738"/>
                <a:gd name="T58" fmla="*/ 279 w 331"/>
                <a:gd name="T59" fmla="*/ 12 h 738"/>
                <a:gd name="T60" fmla="*/ 275 w 331"/>
                <a:gd name="T61" fmla="*/ 10 h 738"/>
                <a:gd name="T62" fmla="*/ 271 w 331"/>
                <a:gd name="T63" fmla="*/ 9 h 738"/>
                <a:gd name="T64" fmla="*/ 266 w 331"/>
                <a:gd name="T65" fmla="*/ 7 h 738"/>
                <a:gd name="T66" fmla="*/ 263 w 331"/>
                <a:gd name="T67" fmla="*/ 5 h 738"/>
                <a:gd name="T68" fmla="*/ 259 w 331"/>
                <a:gd name="T69" fmla="*/ 4 h 738"/>
                <a:gd name="T70" fmla="*/ 253 w 331"/>
                <a:gd name="T71" fmla="*/ 3 h 738"/>
                <a:gd name="T72" fmla="*/ 249 w 331"/>
                <a:gd name="T73" fmla="*/ 3 h 738"/>
                <a:gd name="T74" fmla="*/ 246 w 331"/>
                <a:gd name="T75" fmla="*/ 2 h 738"/>
                <a:gd name="T76" fmla="*/ 243 w 331"/>
                <a:gd name="T77" fmla="*/ 2 h 738"/>
                <a:gd name="T78" fmla="*/ 234 w 331"/>
                <a:gd name="T79" fmla="*/ 1 h 738"/>
                <a:gd name="T80" fmla="*/ 226 w 331"/>
                <a:gd name="T81" fmla="*/ 1 h 738"/>
                <a:gd name="T82" fmla="*/ 15 w 331"/>
                <a:gd name="T83" fmla="*/ 0 h 738"/>
                <a:gd name="T84" fmla="*/ 12 w 331"/>
                <a:gd name="T85" fmla="*/ 1 h 738"/>
                <a:gd name="T86" fmla="*/ 9 w 331"/>
                <a:gd name="T87" fmla="*/ 2 h 738"/>
                <a:gd name="T88" fmla="*/ 7 w 331"/>
                <a:gd name="T89" fmla="*/ 3 h 738"/>
                <a:gd name="T90" fmla="*/ 5 w 331"/>
                <a:gd name="T91" fmla="*/ 5 h 738"/>
                <a:gd name="T92" fmla="*/ 2 w 331"/>
                <a:gd name="T93" fmla="*/ 7 h 738"/>
                <a:gd name="T94" fmla="*/ 1 w 331"/>
                <a:gd name="T95" fmla="*/ 10 h 738"/>
                <a:gd name="T96" fmla="*/ 0 w 331"/>
                <a:gd name="T97" fmla="*/ 13 h 738"/>
                <a:gd name="T98" fmla="*/ 0 w 331"/>
                <a:gd name="T99" fmla="*/ 16 h 738"/>
                <a:gd name="T100" fmla="*/ 0 w 331"/>
                <a:gd name="T101" fmla="*/ 618 h 738"/>
                <a:gd name="T102" fmla="*/ 0 w 331"/>
                <a:gd name="T103" fmla="*/ 633 h 738"/>
                <a:gd name="T104" fmla="*/ 15 w 331"/>
                <a:gd name="T105" fmla="*/ 633 h 738"/>
                <a:gd name="T106" fmla="*/ 211 w 331"/>
                <a:gd name="T107" fmla="*/ 633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1" h="738">
                  <a:moveTo>
                    <a:pt x="211" y="633"/>
                  </a:moveTo>
                  <a:lnTo>
                    <a:pt x="222" y="633"/>
                  </a:lnTo>
                  <a:lnTo>
                    <a:pt x="233" y="635"/>
                  </a:lnTo>
                  <a:lnTo>
                    <a:pt x="244" y="637"/>
                  </a:lnTo>
                  <a:lnTo>
                    <a:pt x="255" y="640"/>
                  </a:lnTo>
                  <a:lnTo>
                    <a:pt x="264" y="645"/>
                  </a:lnTo>
                  <a:lnTo>
                    <a:pt x="274" y="650"/>
                  </a:lnTo>
                  <a:lnTo>
                    <a:pt x="282" y="656"/>
                  </a:lnTo>
                  <a:lnTo>
                    <a:pt x="291" y="663"/>
                  </a:lnTo>
                  <a:lnTo>
                    <a:pt x="298" y="670"/>
                  </a:lnTo>
                  <a:lnTo>
                    <a:pt x="306" y="678"/>
                  </a:lnTo>
                  <a:lnTo>
                    <a:pt x="311" y="687"/>
                  </a:lnTo>
                  <a:lnTo>
                    <a:pt x="317" y="696"/>
                  </a:lnTo>
                  <a:lnTo>
                    <a:pt x="322" y="706"/>
                  </a:lnTo>
                  <a:lnTo>
                    <a:pt x="325" y="716"/>
                  </a:lnTo>
                  <a:lnTo>
                    <a:pt x="329" y="727"/>
                  </a:lnTo>
                  <a:lnTo>
                    <a:pt x="331" y="738"/>
                  </a:lnTo>
                  <a:lnTo>
                    <a:pt x="331" y="738"/>
                  </a:lnTo>
                  <a:lnTo>
                    <a:pt x="331" y="50"/>
                  </a:lnTo>
                  <a:lnTo>
                    <a:pt x="322" y="40"/>
                  </a:lnTo>
                  <a:lnTo>
                    <a:pt x="311" y="30"/>
                  </a:lnTo>
                  <a:lnTo>
                    <a:pt x="308" y="28"/>
                  </a:lnTo>
                  <a:lnTo>
                    <a:pt x="305" y="27"/>
                  </a:lnTo>
                  <a:lnTo>
                    <a:pt x="302" y="24"/>
                  </a:lnTo>
                  <a:lnTo>
                    <a:pt x="297" y="21"/>
                  </a:lnTo>
                  <a:lnTo>
                    <a:pt x="294" y="19"/>
                  </a:lnTo>
                  <a:lnTo>
                    <a:pt x="290" y="17"/>
                  </a:lnTo>
                  <a:lnTo>
                    <a:pt x="287" y="15"/>
                  </a:lnTo>
                  <a:lnTo>
                    <a:pt x="282" y="13"/>
                  </a:lnTo>
                  <a:lnTo>
                    <a:pt x="279" y="12"/>
                  </a:lnTo>
                  <a:lnTo>
                    <a:pt x="275" y="10"/>
                  </a:lnTo>
                  <a:lnTo>
                    <a:pt x="271" y="9"/>
                  </a:lnTo>
                  <a:lnTo>
                    <a:pt x="266" y="7"/>
                  </a:lnTo>
                  <a:lnTo>
                    <a:pt x="263" y="5"/>
                  </a:lnTo>
                  <a:lnTo>
                    <a:pt x="259" y="4"/>
                  </a:lnTo>
                  <a:lnTo>
                    <a:pt x="253" y="3"/>
                  </a:lnTo>
                  <a:lnTo>
                    <a:pt x="249" y="3"/>
                  </a:lnTo>
                  <a:lnTo>
                    <a:pt x="246" y="2"/>
                  </a:lnTo>
                  <a:lnTo>
                    <a:pt x="243" y="2"/>
                  </a:lnTo>
                  <a:lnTo>
                    <a:pt x="234" y="1"/>
                  </a:lnTo>
                  <a:lnTo>
                    <a:pt x="226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2"/>
                  </a:lnTo>
                  <a:lnTo>
                    <a:pt x="7" y="3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618"/>
                  </a:lnTo>
                  <a:lnTo>
                    <a:pt x="0" y="633"/>
                  </a:lnTo>
                  <a:lnTo>
                    <a:pt x="15" y="633"/>
                  </a:lnTo>
                  <a:lnTo>
                    <a:pt x="211" y="6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pic>
        <p:nvPicPr>
          <p:cNvPr id="8" name="Picture 2" descr="https://i.gyazo.com/c3d34b79f70d203dad5068a7679ec73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575" y="5407973"/>
            <a:ext cx="2867025" cy="590551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88056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>
              <a:solidFill>
                <a:prstClr val="black"/>
              </a:solidFill>
            </a:endParaRPr>
          </a:p>
        </p:txBody>
      </p:sp>
      <p:sp>
        <p:nvSpPr>
          <p:cNvPr id="51" name="文字方塊 50"/>
          <p:cNvSpPr txBox="1"/>
          <p:nvPr/>
        </p:nvSpPr>
        <p:spPr>
          <a:xfrm>
            <a:off x="334591" y="1524000"/>
            <a:ext cx="8580809" cy="4355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zh-TW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riti Reader</a:t>
            </a:r>
            <a:r>
              <a:rPr lang="zh-TW" altLang="en-US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上架的同時，我們將調整相關產品的使用機制，讓您可以使用同一組帳密，通行於</a:t>
            </a:r>
            <a:r>
              <a:rPr lang="en-US" altLang="zh-TW" b="1" dirty="0" err="1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Read</a:t>
            </a:r>
            <a:r>
              <a:rPr lang="en-US" altLang="zh-TW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eBooks</a:t>
            </a:r>
            <a:r>
              <a:rPr lang="zh-TW" altLang="en-US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平台與</a:t>
            </a:r>
            <a:r>
              <a:rPr lang="en-US" altLang="zh-TW" b="1" dirty="0" err="1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ritiLibrary</a:t>
            </a:r>
            <a:r>
              <a:rPr lang="en-US" altLang="zh-TW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CEPS</a:t>
            </a:r>
            <a:r>
              <a:rPr lang="zh-TW" altLang="en-US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簡稱</a:t>
            </a:r>
            <a:r>
              <a:rPr lang="en-US" altLang="zh-TW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L)</a:t>
            </a:r>
            <a:r>
              <a:rPr lang="zh-TW" altLang="en-US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平台</a:t>
            </a:r>
            <a:r>
              <a:rPr lang="zh-TW" altLang="en-US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zh-TW" altLang="en-US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減輕記憶</a:t>
            </a:r>
            <a:r>
              <a:rPr lang="zh-TW" altLang="en-US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多組不同資料庫帳號密碼的煩惱</a:t>
            </a:r>
            <a:r>
              <a:rPr lang="zh-TW" altLang="en-US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  <a:endParaRPr lang="zh-TW" altLang="en-US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TW" altLang="en-US" b="1" dirty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因此，您的現行</a:t>
            </a:r>
            <a:r>
              <a:rPr lang="en-US" altLang="zh-TW" b="1" dirty="0" err="1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Read</a:t>
            </a:r>
            <a:r>
              <a:rPr lang="en-US" altLang="zh-TW" b="1" dirty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eBooks</a:t>
            </a:r>
            <a:r>
              <a:rPr lang="zh-TW" altLang="en-US" b="1" dirty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帳號將被註銷，請您改以</a:t>
            </a:r>
            <a:r>
              <a:rPr lang="en-US" altLang="zh-TW" b="1" dirty="0" err="1" smtClean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ritiLibrary</a:t>
            </a:r>
            <a:r>
              <a:rPr lang="zh-TW" altLang="en-US" b="1" dirty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帳號登入，若您沒有</a:t>
            </a:r>
            <a:r>
              <a:rPr lang="en-US" altLang="zh-TW" b="1" dirty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riti Library</a:t>
            </a:r>
            <a:r>
              <a:rPr lang="zh-TW" altLang="en-US" b="1" dirty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帳號，請重新註冊帳號使用。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altLang="zh-TW" sz="2000" b="1" dirty="0" smtClean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endParaRPr lang="en-US" altLang="zh-TW" sz="2000" b="1" dirty="0" smtClean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endParaRPr lang="en-US" altLang="zh-TW" b="1" dirty="0" smtClean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8" name="標題 2"/>
          <p:cNvSpPr txBox="1">
            <a:spLocks/>
          </p:cNvSpPr>
          <p:nvPr/>
        </p:nvSpPr>
        <p:spPr>
          <a:xfrm>
            <a:off x="4038600" y="160338"/>
            <a:ext cx="1524000" cy="914400"/>
          </a:xfrm>
          <a:prstGeom prst="rect">
            <a:avLst/>
          </a:prstGeom>
        </p:spPr>
        <p:txBody>
          <a:bodyPr vert="horz" lIns="91392" tIns="45696" rIns="91392" bIns="45696" rtlCol="0" anchor="ctr">
            <a:normAutofit/>
          </a:bodyPr>
          <a:lstStyle>
            <a:lvl1pPr algn="ctr" defTabSz="913916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TW" altLang="en-US" sz="3600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注意</a:t>
            </a:r>
            <a:endParaRPr lang="zh-TW" altLang="en-US" sz="3600" dirty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028" name="Picture 4" descr="ãlecture iconãçåçæå°çµæ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5406" y="4830641"/>
            <a:ext cx="1693277" cy="1693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文字方塊 1"/>
          <p:cNvSpPr txBox="1"/>
          <p:nvPr/>
        </p:nvSpPr>
        <p:spPr>
          <a:xfrm>
            <a:off x="4195759" y="4830641"/>
            <a:ext cx="19896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怎麼註冊</a:t>
            </a:r>
            <a:r>
              <a:rPr lang="en-US" altLang="zh-TW" sz="1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iriti</a:t>
            </a:r>
            <a:r>
              <a:rPr lang="zh-TW" altLang="en-US" sz="1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帳號</a:t>
            </a:r>
            <a:r>
              <a:rPr lang="en-US" altLang="zh-TW" sz="1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?</a:t>
            </a:r>
            <a:endParaRPr lang="zh-TW" altLang="en-US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2" name="文字方塊 31"/>
          <p:cNvSpPr txBox="1"/>
          <p:nvPr/>
        </p:nvSpPr>
        <p:spPr>
          <a:xfrm>
            <a:off x="7878683" y="6016823"/>
            <a:ext cx="11320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Continue…</a:t>
            </a:r>
            <a:endParaRPr lang="zh-TW" altLang="en-US" sz="14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" name="Freeform 449"/>
          <p:cNvSpPr/>
          <p:nvPr/>
        </p:nvSpPr>
        <p:spPr>
          <a:xfrm>
            <a:off x="3124200" y="375336"/>
            <a:ext cx="505396" cy="468527"/>
          </a:xfrm>
          <a:custGeom>
            <a:avLst/>
            <a:gdLst/>
            <a:ahLst/>
            <a:cxnLst/>
            <a:rect l="l" t="t" r="r" b="b"/>
            <a:pathLst>
              <a:path w="505396" h="468766">
                <a:moveTo>
                  <a:pt x="252699" y="0"/>
                </a:moveTo>
                <a:cubicBezTo>
                  <a:pt x="259272" y="0"/>
                  <a:pt x="265376" y="1690"/>
                  <a:pt x="271010" y="5071"/>
                </a:cubicBezTo>
                <a:cubicBezTo>
                  <a:pt x="276644" y="8451"/>
                  <a:pt x="281058" y="13053"/>
                  <a:pt x="284251" y="18875"/>
                </a:cubicBezTo>
                <a:lnTo>
                  <a:pt x="500604" y="415523"/>
                </a:lnTo>
                <a:cubicBezTo>
                  <a:pt x="507177" y="427355"/>
                  <a:pt x="506989" y="439187"/>
                  <a:pt x="500040" y="451019"/>
                </a:cubicBezTo>
                <a:cubicBezTo>
                  <a:pt x="496848" y="456465"/>
                  <a:pt x="492482" y="460784"/>
                  <a:pt x="486941" y="463977"/>
                </a:cubicBezTo>
                <a:cubicBezTo>
                  <a:pt x="481400" y="467170"/>
                  <a:pt x="475438" y="468766"/>
                  <a:pt x="469052" y="468766"/>
                </a:cubicBezTo>
                <a:lnTo>
                  <a:pt x="36345" y="468766"/>
                </a:lnTo>
                <a:cubicBezTo>
                  <a:pt x="29960" y="468766"/>
                  <a:pt x="23997" y="467170"/>
                  <a:pt x="18457" y="463977"/>
                </a:cubicBezTo>
                <a:cubicBezTo>
                  <a:pt x="12916" y="460784"/>
                  <a:pt x="8550" y="456465"/>
                  <a:pt x="5357" y="451019"/>
                </a:cubicBezTo>
                <a:cubicBezTo>
                  <a:pt x="-1592" y="439187"/>
                  <a:pt x="-1780" y="427355"/>
                  <a:pt x="4794" y="415523"/>
                </a:cubicBezTo>
                <a:lnTo>
                  <a:pt x="221148" y="18875"/>
                </a:lnTo>
                <a:cubicBezTo>
                  <a:pt x="224340" y="13053"/>
                  <a:pt x="228753" y="8451"/>
                  <a:pt x="234387" y="5071"/>
                </a:cubicBezTo>
                <a:cubicBezTo>
                  <a:pt x="240021" y="1690"/>
                  <a:pt x="246126" y="0"/>
                  <a:pt x="252699" y="0"/>
                </a:cubicBezTo>
                <a:close/>
                <a:moveTo>
                  <a:pt x="221711" y="144236"/>
                </a:moveTo>
                <a:cubicBezTo>
                  <a:pt x="219645" y="144236"/>
                  <a:pt x="217391" y="145269"/>
                  <a:pt x="214950" y="147335"/>
                </a:cubicBezTo>
                <a:cubicBezTo>
                  <a:pt x="213072" y="148649"/>
                  <a:pt x="212133" y="150621"/>
                  <a:pt x="212133" y="153251"/>
                </a:cubicBezTo>
                <a:lnTo>
                  <a:pt x="216922" y="281992"/>
                </a:lnTo>
                <a:cubicBezTo>
                  <a:pt x="216922" y="283870"/>
                  <a:pt x="217861" y="285419"/>
                  <a:pt x="219739" y="286640"/>
                </a:cubicBezTo>
                <a:cubicBezTo>
                  <a:pt x="221617" y="287861"/>
                  <a:pt x="223871" y="288471"/>
                  <a:pt x="226500" y="288471"/>
                </a:cubicBezTo>
                <a:lnTo>
                  <a:pt x="278616" y="288471"/>
                </a:lnTo>
                <a:cubicBezTo>
                  <a:pt x="281246" y="288471"/>
                  <a:pt x="283452" y="287861"/>
                  <a:pt x="285236" y="286640"/>
                </a:cubicBezTo>
                <a:cubicBezTo>
                  <a:pt x="287020" y="285419"/>
                  <a:pt x="288007" y="283870"/>
                  <a:pt x="288195" y="281992"/>
                </a:cubicBezTo>
                <a:lnTo>
                  <a:pt x="293265" y="152687"/>
                </a:lnTo>
                <a:cubicBezTo>
                  <a:pt x="293265" y="150433"/>
                  <a:pt x="292326" y="148649"/>
                  <a:pt x="290448" y="147335"/>
                </a:cubicBezTo>
                <a:cubicBezTo>
                  <a:pt x="288007" y="145269"/>
                  <a:pt x="285753" y="144236"/>
                  <a:pt x="283687" y="144236"/>
                </a:cubicBezTo>
                <a:lnTo>
                  <a:pt x="221711" y="144236"/>
                </a:lnTo>
                <a:close/>
                <a:moveTo>
                  <a:pt x="225654" y="324530"/>
                </a:moveTo>
                <a:cubicBezTo>
                  <a:pt x="223213" y="324530"/>
                  <a:pt x="221100" y="325422"/>
                  <a:pt x="219316" y="327206"/>
                </a:cubicBezTo>
                <a:cubicBezTo>
                  <a:pt x="217533" y="328991"/>
                  <a:pt x="216640" y="331198"/>
                  <a:pt x="216640" y="333827"/>
                </a:cubicBezTo>
                <a:lnTo>
                  <a:pt x="216640" y="387352"/>
                </a:lnTo>
                <a:cubicBezTo>
                  <a:pt x="216640" y="389981"/>
                  <a:pt x="217533" y="392188"/>
                  <a:pt x="219316" y="393972"/>
                </a:cubicBezTo>
                <a:cubicBezTo>
                  <a:pt x="221100" y="395756"/>
                  <a:pt x="223213" y="396648"/>
                  <a:pt x="225654" y="396648"/>
                </a:cubicBezTo>
                <a:lnTo>
                  <a:pt x="279743" y="396648"/>
                </a:lnTo>
                <a:cubicBezTo>
                  <a:pt x="282185" y="396648"/>
                  <a:pt x="284298" y="395756"/>
                  <a:pt x="286081" y="393972"/>
                </a:cubicBezTo>
                <a:cubicBezTo>
                  <a:pt x="287866" y="392188"/>
                  <a:pt x="288757" y="389981"/>
                  <a:pt x="288757" y="387352"/>
                </a:cubicBezTo>
                <a:lnTo>
                  <a:pt x="288757" y="333827"/>
                </a:lnTo>
                <a:cubicBezTo>
                  <a:pt x="288757" y="331198"/>
                  <a:pt x="287866" y="328991"/>
                  <a:pt x="286081" y="327206"/>
                </a:cubicBezTo>
                <a:cubicBezTo>
                  <a:pt x="284298" y="325422"/>
                  <a:pt x="282185" y="324530"/>
                  <a:pt x="279743" y="324530"/>
                </a:cubicBezTo>
                <a:lnTo>
                  <a:pt x="225654" y="3245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4046156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>
              <a:solidFill>
                <a:prstClr val="black"/>
              </a:solidFill>
            </a:endParaRPr>
          </a:p>
        </p:txBody>
      </p:sp>
      <p:sp>
        <p:nvSpPr>
          <p:cNvPr id="28" name="標題 2"/>
          <p:cNvSpPr txBox="1">
            <a:spLocks/>
          </p:cNvSpPr>
          <p:nvPr/>
        </p:nvSpPr>
        <p:spPr>
          <a:xfrm>
            <a:off x="2514600" y="228600"/>
            <a:ext cx="5029200" cy="914400"/>
          </a:xfrm>
          <a:prstGeom prst="rect">
            <a:avLst/>
          </a:prstGeom>
        </p:spPr>
        <p:txBody>
          <a:bodyPr vert="horz" lIns="91392" tIns="45696" rIns="91392" bIns="45696" rtlCol="0" anchor="ctr">
            <a:normAutofit/>
          </a:bodyPr>
          <a:lstStyle>
            <a:lvl1pPr algn="ctr" defTabSz="913916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TW" altLang="en-US" sz="36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註冊登入</a:t>
            </a:r>
            <a:endParaRPr lang="zh-TW" altLang="en-US" sz="28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0" name="Freeform 3447">
            <a:extLst>
              <a:ext uri="{FF2B5EF4-FFF2-40B4-BE49-F238E27FC236}">
                <a16:creationId xmlns="" xmlns:a16="http://schemas.microsoft.com/office/drawing/2014/main" id="{4F188ED1-C7AA-4888-83A0-9D55EBA024AE}"/>
              </a:ext>
            </a:extLst>
          </p:cNvPr>
          <p:cNvSpPr>
            <a:spLocks noEditPoints="1"/>
          </p:cNvSpPr>
          <p:nvPr/>
        </p:nvSpPr>
        <p:spPr bwMode="auto">
          <a:xfrm>
            <a:off x="1777800" y="457200"/>
            <a:ext cx="432000" cy="432000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Rectangle 6"/>
          <p:cNvSpPr/>
          <p:nvPr/>
        </p:nvSpPr>
        <p:spPr>
          <a:xfrm>
            <a:off x="3660799" y="5022304"/>
            <a:ext cx="5099025" cy="1302296"/>
          </a:xfrm>
          <a:prstGeom prst="rect">
            <a:avLst/>
          </a:prstGeom>
          <a:solidFill>
            <a:srgbClr val="0095C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376" tIns="45688" rIns="91376" bIns="45688" rtlCol="0" anchor="ctr"/>
          <a:lstStyle/>
          <a:p>
            <a:endParaRPr lang="en-US" sz="3600" b="1" kern="0" dirty="0">
              <a:solidFill>
                <a:prstClr val="white"/>
              </a:solidFill>
            </a:endParaRPr>
          </a:p>
        </p:txBody>
      </p:sp>
      <p:sp>
        <p:nvSpPr>
          <p:cNvPr id="33" name="梯形 32"/>
          <p:cNvSpPr/>
          <p:nvPr/>
        </p:nvSpPr>
        <p:spPr>
          <a:xfrm>
            <a:off x="3660798" y="4662264"/>
            <a:ext cx="5099021" cy="360040"/>
          </a:xfrm>
          <a:prstGeom prst="trapezoid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34" name="Rectangle 8"/>
          <p:cNvSpPr/>
          <p:nvPr/>
        </p:nvSpPr>
        <p:spPr>
          <a:xfrm>
            <a:off x="4035424" y="3695868"/>
            <a:ext cx="4356000" cy="966399"/>
          </a:xfrm>
          <a:prstGeom prst="rect">
            <a:avLst/>
          </a:prstGeom>
          <a:solidFill>
            <a:srgbClr val="324D5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376" tIns="45688" rIns="91376" bIns="45688" rtlCol="0" anchor="ctr"/>
          <a:lstStyle/>
          <a:p>
            <a:pPr>
              <a:defRPr/>
            </a:pPr>
            <a:endParaRPr lang="en-US" sz="3600" b="1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梯形 34"/>
          <p:cNvSpPr/>
          <p:nvPr/>
        </p:nvSpPr>
        <p:spPr>
          <a:xfrm>
            <a:off x="4032308" y="3429000"/>
            <a:ext cx="4356000" cy="275774"/>
          </a:xfrm>
          <a:prstGeom prst="trapezoid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36" name="Rectangle 9"/>
          <p:cNvSpPr/>
          <p:nvPr/>
        </p:nvSpPr>
        <p:spPr>
          <a:xfrm>
            <a:off x="4746005" y="2556456"/>
            <a:ext cx="3028732" cy="872544"/>
          </a:xfrm>
          <a:prstGeom prst="rect">
            <a:avLst/>
          </a:prstGeom>
          <a:solidFill>
            <a:srgbClr val="F17C3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376" tIns="45688" rIns="91376" bIns="45688" rtlCol="0" anchor="ctr"/>
          <a:lstStyle/>
          <a:p>
            <a:pPr>
              <a:defRPr/>
            </a:pPr>
            <a:endParaRPr lang="en-US" sz="3600" b="1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7" name="文字方塊 36"/>
          <p:cNvSpPr txBox="1"/>
          <p:nvPr/>
        </p:nvSpPr>
        <p:spPr>
          <a:xfrm>
            <a:off x="5556845" y="2781901"/>
            <a:ext cx="1967076" cy="430823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r>
              <a:rPr lang="en-US" altLang="zh-TW" sz="2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riti</a:t>
            </a:r>
            <a:r>
              <a:rPr lang="zh-TW" altLang="en-US" sz="2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個人帳號</a:t>
            </a:r>
          </a:p>
        </p:txBody>
      </p:sp>
      <p:sp>
        <p:nvSpPr>
          <p:cNvPr id="38" name="Freeform 299"/>
          <p:cNvSpPr/>
          <p:nvPr/>
        </p:nvSpPr>
        <p:spPr>
          <a:xfrm>
            <a:off x="5010377" y="2767912"/>
            <a:ext cx="396647" cy="432488"/>
          </a:xfrm>
          <a:custGeom>
            <a:avLst/>
            <a:gdLst>
              <a:gd name="connsiteX0" fmla="*/ 73103 w 297485"/>
              <a:gd name="connsiteY0" fmla="*/ 148745 h 324532"/>
              <a:gd name="connsiteX1" fmla="*/ 81977 w 297485"/>
              <a:gd name="connsiteY1" fmla="*/ 153288 h 324532"/>
              <a:gd name="connsiteX2" fmla="*/ 97718 w 297485"/>
              <a:gd name="connsiteY2" fmla="*/ 163429 h 324532"/>
              <a:gd name="connsiteX3" fmla="*/ 120536 w 297485"/>
              <a:gd name="connsiteY3" fmla="*/ 173571 h 324532"/>
              <a:gd name="connsiteX4" fmla="*/ 148743 w 297485"/>
              <a:gd name="connsiteY4" fmla="*/ 178114 h 324532"/>
              <a:gd name="connsiteX5" fmla="*/ 176949 w 297485"/>
              <a:gd name="connsiteY5" fmla="*/ 173571 h 324532"/>
              <a:gd name="connsiteX6" fmla="*/ 199768 w 297485"/>
              <a:gd name="connsiteY6" fmla="*/ 163429 h 324532"/>
              <a:gd name="connsiteX7" fmla="*/ 215508 w 297485"/>
              <a:gd name="connsiteY7" fmla="*/ 153288 h 324532"/>
              <a:gd name="connsiteX8" fmla="*/ 224382 w 297485"/>
              <a:gd name="connsiteY8" fmla="*/ 148745 h 324532"/>
              <a:gd name="connsiteX9" fmla="*/ 247940 w 297485"/>
              <a:gd name="connsiteY9" fmla="*/ 152971 h 324532"/>
              <a:gd name="connsiteX10" fmla="*/ 266005 w 297485"/>
              <a:gd name="connsiteY10" fmla="*/ 164275 h 324532"/>
              <a:gd name="connsiteX11" fmla="*/ 279104 w 297485"/>
              <a:gd name="connsiteY11" fmla="*/ 181388 h 324532"/>
              <a:gd name="connsiteX12" fmla="*/ 288189 w 297485"/>
              <a:gd name="connsiteY12" fmla="*/ 201988 h 324532"/>
              <a:gd name="connsiteX13" fmla="*/ 293788 w 297485"/>
              <a:gd name="connsiteY13" fmla="*/ 224913 h 324532"/>
              <a:gd name="connsiteX14" fmla="*/ 296746 w 297485"/>
              <a:gd name="connsiteY14" fmla="*/ 247942 h 324532"/>
              <a:gd name="connsiteX15" fmla="*/ 297485 w 297485"/>
              <a:gd name="connsiteY15" fmla="*/ 269810 h 324532"/>
              <a:gd name="connsiteX16" fmla="*/ 282061 w 297485"/>
              <a:gd name="connsiteY16" fmla="*/ 309848 h 324532"/>
              <a:gd name="connsiteX17" fmla="*/ 241073 w 297485"/>
              <a:gd name="connsiteY17" fmla="*/ 324532 h 324532"/>
              <a:gd name="connsiteX18" fmla="*/ 56412 w 297485"/>
              <a:gd name="connsiteY18" fmla="*/ 324532 h 324532"/>
              <a:gd name="connsiteX19" fmla="*/ 15423 w 297485"/>
              <a:gd name="connsiteY19" fmla="*/ 309848 h 324532"/>
              <a:gd name="connsiteX20" fmla="*/ 0 w 297485"/>
              <a:gd name="connsiteY20" fmla="*/ 269810 h 324532"/>
              <a:gd name="connsiteX21" fmla="*/ 740 w 297485"/>
              <a:gd name="connsiteY21" fmla="*/ 247942 h 324532"/>
              <a:gd name="connsiteX22" fmla="*/ 3698 w 297485"/>
              <a:gd name="connsiteY22" fmla="*/ 224913 h 324532"/>
              <a:gd name="connsiteX23" fmla="*/ 9296 w 297485"/>
              <a:gd name="connsiteY23" fmla="*/ 201988 h 324532"/>
              <a:gd name="connsiteX24" fmla="*/ 18382 w 297485"/>
              <a:gd name="connsiteY24" fmla="*/ 181388 h 324532"/>
              <a:gd name="connsiteX25" fmla="*/ 31481 w 297485"/>
              <a:gd name="connsiteY25" fmla="*/ 164275 h 324532"/>
              <a:gd name="connsiteX26" fmla="*/ 49546 w 297485"/>
              <a:gd name="connsiteY26" fmla="*/ 152971 h 324532"/>
              <a:gd name="connsiteX27" fmla="*/ 73103 w 297485"/>
              <a:gd name="connsiteY27" fmla="*/ 148745 h 324532"/>
              <a:gd name="connsiteX28" fmla="*/ 148743 w 297485"/>
              <a:gd name="connsiteY28" fmla="*/ 0 h 324532"/>
              <a:gd name="connsiteX29" fmla="*/ 206106 w 297485"/>
              <a:gd name="connsiteY29" fmla="*/ 23770 h 324532"/>
              <a:gd name="connsiteX30" fmla="*/ 229875 w 297485"/>
              <a:gd name="connsiteY30" fmla="*/ 81133 h 324532"/>
              <a:gd name="connsiteX31" fmla="*/ 206106 w 297485"/>
              <a:gd name="connsiteY31" fmla="*/ 138496 h 324532"/>
              <a:gd name="connsiteX32" fmla="*/ 148743 w 297485"/>
              <a:gd name="connsiteY32" fmla="*/ 162266 h 324532"/>
              <a:gd name="connsiteX33" fmla="*/ 91379 w 297485"/>
              <a:gd name="connsiteY33" fmla="*/ 138496 h 324532"/>
              <a:gd name="connsiteX34" fmla="*/ 67610 w 297485"/>
              <a:gd name="connsiteY34" fmla="*/ 81133 h 324532"/>
              <a:gd name="connsiteX35" fmla="*/ 91379 w 297485"/>
              <a:gd name="connsiteY35" fmla="*/ 23770 h 324532"/>
              <a:gd name="connsiteX36" fmla="*/ 148743 w 297485"/>
              <a:gd name="connsiteY36" fmla="*/ 0 h 32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97485" h="324532">
                <a:moveTo>
                  <a:pt x="73103" y="148745"/>
                </a:moveTo>
                <a:cubicBezTo>
                  <a:pt x="74372" y="148745"/>
                  <a:pt x="77330" y="150259"/>
                  <a:pt x="81977" y="153288"/>
                </a:cubicBezTo>
                <a:cubicBezTo>
                  <a:pt x="86626" y="156316"/>
                  <a:pt x="91872" y="159697"/>
                  <a:pt x="97718" y="163429"/>
                </a:cubicBezTo>
                <a:cubicBezTo>
                  <a:pt x="103564" y="167162"/>
                  <a:pt x="111170" y="170542"/>
                  <a:pt x="120536" y="173571"/>
                </a:cubicBezTo>
                <a:cubicBezTo>
                  <a:pt x="129903" y="176599"/>
                  <a:pt x="139306" y="178114"/>
                  <a:pt x="148743" y="178114"/>
                </a:cubicBezTo>
                <a:cubicBezTo>
                  <a:pt x="158180" y="178114"/>
                  <a:pt x="167582" y="176599"/>
                  <a:pt x="176949" y="173571"/>
                </a:cubicBezTo>
                <a:cubicBezTo>
                  <a:pt x="186315" y="170542"/>
                  <a:pt x="193922" y="167162"/>
                  <a:pt x="199768" y="163429"/>
                </a:cubicBezTo>
                <a:cubicBezTo>
                  <a:pt x="205613" y="159697"/>
                  <a:pt x="210860" y="156316"/>
                  <a:pt x="215508" y="153288"/>
                </a:cubicBezTo>
                <a:cubicBezTo>
                  <a:pt x="220157" y="150259"/>
                  <a:pt x="223115" y="148745"/>
                  <a:pt x="224382" y="148745"/>
                </a:cubicBezTo>
                <a:cubicBezTo>
                  <a:pt x="232974" y="148745"/>
                  <a:pt x="240827" y="150154"/>
                  <a:pt x="247940" y="152971"/>
                </a:cubicBezTo>
                <a:cubicBezTo>
                  <a:pt x="255053" y="155788"/>
                  <a:pt x="261074" y="159556"/>
                  <a:pt x="266005" y="164275"/>
                </a:cubicBezTo>
                <a:cubicBezTo>
                  <a:pt x="270935" y="168993"/>
                  <a:pt x="275301" y="174697"/>
                  <a:pt x="279104" y="181388"/>
                </a:cubicBezTo>
                <a:cubicBezTo>
                  <a:pt x="282907" y="188079"/>
                  <a:pt x="285935" y="194946"/>
                  <a:pt x="288189" y="201988"/>
                </a:cubicBezTo>
                <a:cubicBezTo>
                  <a:pt x="290443" y="209031"/>
                  <a:pt x="292309" y="216673"/>
                  <a:pt x="293788" y="224913"/>
                </a:cubicBezTo>
                <a:cubicBezTo>
                  <a:pt x="295267" y="233152"/>
                  <a:pt x="296253" y="240829"/>
                  <a:pt x="296746" y="247942"/>
                </a:cubicBezTo>
                <a:cubicBezTo>
                  <a:pt x="297238" y="255056"/>
                  <a:pt x="297485" y="262344"/>
                  <a:pt x="297485" y="269810"/>
                </a:cubicBezTo>
                <a:cubicBezTo>
                  <a:pt x="297485" y="286713"/>
                  <a:pt x="292344" y="300059"/>
                  <a:pt x="282061" y="309848"/>
                </a:cubicBezTo>
                <a:cubicBezTo>
                  <a:pt x="271779" y="319638"/>
                  <a:pt x="258116" y="324532"/>
                  <a:pt x="241073" y="324532"/>
                </a:cubicBezTo>
                <a:lnTo>
                  <a:pt x="56412" y="324532"/>
                </a:lnTo>
                <a:cubicBezTo>
                  <a:pt x="39368" y="324532"/>
                  <a:pt x="25706" y="319638"/>
                  <a:pt x="15423" y="309848"/>
                </a:cubicBezTo>
                <a:cubicBezTo>
                  <a:pt x="5141" y="300059"/>
                  <a:pt x="0" y="286713"/>
                  <a:pt x="0" y="269810"/>
                </a:cubicBezTo>
                <a:cubicBezTo>
                  <a:pt x="0" y="262344"/>
                  <a:pt x="246" y="255056"/>
                  <a:pt x="740" y="247942"/>
                </a:cubicBezTo>
                <a:cubicBezTo>
                  <a:pt x="1232" y="240829"/>
                  <a:pt x="2219" y="233152"/>
                  <a:pt x="3698" y="224913"/>
                </a:cubicBezTo>
                <a:cubicBezTo>
                  <a:pt x="5177" y="216673"/>
                  <a:pt x="7043" y="209031"/>
                  <a:pt x="9296" y="201988"/>
                </a:cubicBezTo>
                <a:cubicBezTo>
                  <a:pt x="11550" y="194946"/>
                  <a:pt x="14579" y="188079"/>
                  <a:pt x="18382" y="181388"/>
                </a:cubicBezTo>
                <a:cubicBezTo>
                  <a:pt x="22184" y="174697"/>
                  <a:pt x="26551" y="168993"/>
                  <a:pt x="31481" y="164275"/>
                </a:cubicBezTo>
                <a:cubicBezTo>
                  <a:pt x="36411" y="159556"/>
                  <a:pt x="42432" y="155788"/>
                  <a:pt x="49546" y="152971"/>
                </a:cubicBezTo>
                <a:cubicBezTo>
                  <a:pt x="56659" y="150154"/>
                  <a:pt x="64511" y="148745"/>
                  <a:pt x="73103" y="148745"/>
                </a:cubicBezTo>
                <a:close/>
                <a:moveTo>
                  <a:pt x="148743" y="0"/>
                </a:moveTo>
                <a:cubicBezTo>
                  <a:pt x="171139" y="0"/>
                  <a:pt x="190259" y="7923"/>
                  <a:pt x="206106" y="23770"/>
                </a:cubicBezTo>
                <a:cubicBezTo>
                  <a:pt x="221952" y="39616"/>
                  <a:pt x="229875" y="58736"/>
                  <a:pt x="229875" y="81133"/>
                </a:cubicBezTo>
                <a:cubicBezTo>
                  <a:pt x="229875" y="103529"/>
                  <a:pt x="221952" y="122650"/>
                  <a:pt x="206106" y="138496"/>
                </a:cubicBezTo>
                <a:cubicBezTo>
                  <a:pt x="190259" y="154342"/>
                  <a:pt x="171139" y="162266"/>
                  <a:pt x="148743" y="162266"/>
                </a:cubicBezTo>
                <a:cubicBezTo>
                  <a:pt x="126347" y="162266"/>
                  <a:pt x="107226" y="154342"/>
                  <a:pt x="91379" y="138496"/>
                </a:cubicBezTo>
                <a:cubicBezTo>
                  <a:pt x="75533" y="122650"/>
                  <a:pt x="67610" y="103529"/>
                  <a:pt x="67610" y="81133"/>
                </a:cubicBezTo>
                <a:cubicBezTo>
                  <a:pt x="67610" y="58736"/>
                  <a:pt x="75533" y="39616"/>
                  <a:pt x="91379" y="23770"/>
                </a:cubicBezTo>
                <a:cubicBezTo>
                  <a:pt x="107226" y="7923"/>
                  <a:pt x="126347" y="0"/>
                  <a:pt x="1487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376" tIns="45688" rIns="91376" bIns="45688" rtlCol="0" anchor="ctr">
            <a:noAutofit/>
          </a:bodyPr>
          <a:lstStyle/>
          <a:p>
            <a:pPr algn="ctr"/>
            <a:endParaRPr lang="en-US" sz="1300"/>
          </a:p>
        </p:txBody>
      </p:sp>
      <p:sp>
        <p:nvSpPr>
          <p:cNvPr id="40" name="Freeform 547"/>
          <p:cNvSpPr/>
          <p:nvPr/>
        </p:nvSpPr>
        <p:spPr>
          <a:xfrm>
            <a:off x="4335917" y="3914775"/>
            <a:ext cx="540883" cy="504825"/>
          </a:xfrm>
          <a:custGeom>
            <a:avLst/>
            <a:gdLst>
              <a:gd name="connsiteX0" fmla="*/ 19438 w 540883"/>
              <a:gd name="connsiteY0" fmla="*/ 450737 h 504825"/>
              <a:gd name="connsiteX1" fmla="*/ 521446 w 540883"/>
              <a:gd name="connsiteY1" fmla="*/ 450737 h 504825"/>
              <a:gd name="connsiteX2" fmla="*/ 535109 w 540883"/>
              <a:gd name="connsiteY2" fmla="*/ 456089 h 504825"/>
              <a:gd name="connsiteX3" fmla="*/ 540883 w 540883"/>
              <a:gd name="connsiteY3" fmla="*/ 468766 h 504825"/>
              <a:gd name="connsiteX4" fmla="*/ 540883 w 540883"/>
              <a:gd name="connsiteY4" fmla="*/ 504825 h 504825"/>
              <a:gd name="connsiteX5" fmla="*/ 0 w 540883"/>
              <a:gd name="connsiteY5" fmla="*/ 504825 h 504825"/>
              <a:gd name="connsiteX6" fmla="*/ 0 w 540883"/>
              <a:gd name="connsiteY6" fmla="*/ 468766 h 504825"/>
              <a:gd name="connsiteX7" fmla="*/ 5775 w 540883"/>
              <a:gd name="connsiteY7" fmla="*/ 456089 h 504825"/>
              <a:gd name="connsiteX8" fmla="*/ 19438 w 540883"/>
              <a:gd name="connsiteY8" fmla="*/ 450737 h 504825"/>
              <a:gd name="connsiteX9" fmla="*/ 72117 w 540883"/>
              <a:gd name="connsiteY9" fmla="*/ 180295 h 504825"/>
              <a:gd name="connsiteX10" fmla="*/ 144236 w 540883"/>
              <a:gd name="connsiteY10" fmla="*/ 180295 h 504825"/>
              <a:gd name="connsiteX11" fmla="*/ 144236 w 540883"/>
              <a:gd name="connsiteY11" fmla="*/ 396648 h 504825"/>
              <a:gd name="connsiteX12" fmla="*/ 180295 w 540883"/>
              <a:gd name="connsiteY12" fmla="*/ 396648 h 504825"/>
              <a:gd name="connsiteX13" fmla="*/ 180295 w 540883"/>
              <a:gd name="connsiteY13" fmla="*/ 180295 h 504825"/>
              <a:gd name="connsiteX14" fmla="*/ 252412 w 540883"/>
              <a:gd name="connsiteY14" fmla="*/ 180295 h 504825"/>
              <a:gd name="connsiteX15" fmla="*/ 252412 w 540883"/>
              <a:gd name="connsiteY15" fmla="*/ 396648 h 504825"/>
              <a:gd name="connsiteX16" fmla="*/ 288472 w 540883"/>
              <a:gd name="connsiteY16" fmla="*/ 396648 h 504825"/>
              <a:gd name="connsiteX17" fmla="*/ 288472 w 540883"/>
              <a:gd name="connsiteY17" fmla="*/ 180295 h 504825"/>
              <a:gd name="connsiteX18" fmla="*/ 360589 w 540883"/>
              <a:gd name="connsiteY18" fmla="*/ 180295 h 504825"/>
              <a:gd name="connsiteX19" fmla="*/ 360589 w 540883"/>
              <a:gd name="connsiteY19" fmla="*/ 396648 h 504825"/>
              <a:gd name="connsiteX20" fmla="*/ 396648 w 540883"/>
              <a:gd name="connsiteY20" fmla="*/ 396648 h 504825"/>
              <a:gd name="connsiteX21" fmla="*/ 396648 w 540883"/>
              <a:gd name="connsiteY21" fmla="*/ 180295 h 504825"/>
              <a:gd name="connsiteX22" fmla="*/ 468766 w 540883"/>
              <a:gd name="connsiteY22" fmla="*/ 180295 h 504825"/>
              <a:gd name="connsiteX23" fmla="*/ 468766 w 540883"/>
              <a:gd name="connsiteY23" fmla="*/ 396648 h 504825"/>
              <a:gd name="connsiteX24" fmla="*/ 485387 w 540883"/>
              <a:gd name="connsiteY24" fmla="*/ 396648 h 504825"/>
              <a:gd name="connsiteX25" fmla="*/ 499050 w 540883"/>
              <a:gd name="connsiteY25" fmla="*/ 402001 h 504825"/>
              <a:gd name="connsiteX26" fmla="*/ 504825 w 540883"/>
              <a:gd name="connsiteY26" fmla="*/ 414678 h 504825"/>
              <a:gd name="connsiteX27" fmla="*/ 504825 w 540883"/>
              <a:gd name="connsiteY27" fmla="*/ 432707 h 504825"/>
              <a:gd name="connsiteX28" fmla="*/ 36058 w 540883"/>
              <a:gd name="connsiteY28" fmla="*/ 432707 h 504825"/>
              <a:gd name="connsiteX29" fmla="*/ 36058 w 540883"/>
              <a:gd name="connsiteY29" fmla="*/ 414678 h 504825"/>
              <a:gd name="connsiteX30" fmla="*/ 41834 w 540883"/>
              <a:gd name="connsiteY30" fmla="*/ 402001 h 504825"/>
              <a:gd name="connsiteX31" fmla="*/ 55497 w 540883"/>
              <a:gd name="connsiteY31" fmla="*/ 396648 h 504825"/>
              <a:gd name="connsiteX32" fmla="*/ 72117 w 540883"/>
              <a:gd name="connsiteY32" fmla="*/ 396648 h 504825"/>
              <a:gd name="connsiteX33" fmla="*/ 270442 w 540883"/>
              <a:gd name="connsiteY33" fmla="*/ 0 h 504825"/>
              <a:gd name="connsiteX34" fmla="*/ 540883 w 540883"/>
              <a:gd name="connsiteY34" fmla="*/ 108177 h 504825"/>
              <a:gd name="connsiteX35" fmla="*/ 540883 w 540883"/>
              <a:gd name="connsiteY35" fmla="*/ 144236 h 504825"/>
              <a:gd name="connsiteX36" fmla="*/ 504825 w 540883"/>
              <a:gd name="connsiteY36" fmla="*/ 144236 h 504825"/>
              <a:gd name="connsiteX37" fmla="*/ 499050 w 540883"/>
              <a:gd name="connsiteY37" fmla="*/ 156913 h 504825"/>
              <a:gd name="connsiteX38" fmla="*/ 485387 w 540883"/>
              <a:gd name="connsiteY38" fmla="*/ 162265 h 504825"/>
              <a:gd name="connsiteX39" fmla="*/ 55497 w 540883"/>
              <a:gd name="connsiteY39" fmla="*/ 162265 h 504825"/>
              <a:gd name="connsiteX40" fmla="*/ 41834 w 540883"/>
              <a:gd name="connsiteY40" fmla="*/ 156913 h 504825"/>
              <a:gd name="connsiteX41" fmla="*/ 36058 w 540883"/>
              <a:gd name="connsiteY41" fmla="*/ 144236 h 504825"/>
              <a:gd name="connsiteX42" fmla="*/ 0 w 540883"/>
              <a:gd name="connsiteY42" fmla="*/ 144236 h 504825"/>
              <a:gd name="connsiteX43" fmla="*/ 0 w 540883"/>
              <a:gd name="connsiteY43" fmla="*/ 108177 h 50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40883" h="504825">
                <a:moveTo>
                  <a:pt x="19438" y="450737"/>
                </a:moveTo>
                <a:lnTo>
                  <a:pt x="521446" y="450737"/>
                </a:lnTo>
                <a:cubicBezTo>
                  <a:pt x="526704" y="450737"/>
                  <a:pt x="531259" y="452521"/>
                  <a:pt x="535109" y="456089"/>
                </a:cubicBezTo>
                <a:cubicBezTo>
                  <a:pt x="538960" y="459657"/>
                  <a:pt x="540883" y="463883"/>
                  <a:pt x="540883" y="468766"/>
                </a:cubicBezTo>
                <a:lnTo>
                  <a:pt x="540883" y="504825"/>
                </a:lnTo>
                <a:lnTo>
                  <a:pt x="0" y="504825"/>
                </a:lnTo>
                <a:lnTo>
                  <a:pt x="0" y="468766"/>
                </a:lnTo>
                <a:cubicBezTo>
                  <a:pt x="0" y="463883"/>
                  <a:pt x="1925" y="459657"/>
                  <a:pt x="5775" y="456089"/>
                </a:cubicBezTo>
                <a:cubicBezTo>
                  <a:pt x="9624" y="452521"/>
                  <a:pt x="14179" y="450737"/>
                  <a:pt x="19438" y="450737"/>
                </a:cubicBezTo>
                <a:close/>
                <a:moveTo>
                  <a:pt x="72117" y="180295"/>
                </a:moveTo>
                <a:lnTo>
                  <a:pt x="144236" y="180295"/>
                </a:lnTo>
                <a:lnTo>
                  <a:pt x="144236" y="396648"/>
                </a:lnTo>
                <a:lnTo>
                  <a:pt x="180295" y="396648"/>
                </a:lnTo>
                <a:lnTo>
                  <a:pt x="180295" y="180295"/>
                </a:lnTo>
                <a:lnTo>
                  <a:pt x="252412" y="180295"/>
                </a:lnTo>
                <a:lnTo>
                  <a:pt x="252412" y="396648"/>
                </a:lnTo>
                <a:lnTo>
                  <a:pt x="288472" y="396648"/>
                </a:lnTo>
                <a:lnTo>
                  <a:pt x="288472" y="180295"/>
                </a:lnTo>
                <a:lnTo>
                  <a:pt x="360589" y="180295"/>
                </a:lnTo>
                <a:lnTo>
                  <a:pt x="360589" y="396648"/>
                </a:lnTo>
                <a:lnTo>
                  <a:pt x="396648" y="396648"/>
                </a:lnTo>
                <a:lnTo>
                  <a:pt x="396648" y="180295"/>
                </a:lnTo>
                <a:lnTo>
                  <a:pt x="468766" y="180295"/>
                </a:lnTo>
                <a:lnTo>
                  <a:pt x="468766" y="396648"/>
                </a:lnTo>
                <a:lnTo>
                  <a:pt x="485387" y="396648"/>
                </a:lnTo>
                <a:cubicBezTo>
                  <a:pt x="490645" y="396648"/>
                  <a:pt x="495200" y="398432"/>
                  <a:pt x="499050" y="402001"/>
                </a:cubicBezTo>
                <a:cubicBezTo>
                  <a:pt x="502900" y="405569"/>
                  <a:pt x="504825" y="409795"/>
                  <a:pt x="504825" y="414678"/>
                </a:cubicBezTo>
                <a:lnTo>
                  <a:pt x="504825" y="432707"/>
                </a:lnTo>
                <a:lnTo>
                  <a:pt x="36058" y="432707"/>
                </a:lnTo>
                <a:lnTo>
                  <a:pt x="36058" y="414678"/>
                </a:lnTo>
                <a:cubicBezTo>
                  <a:pt x="36058" y="409795"/>
                  <a:pt x="37984" y="405569"/>
                  <a:pt x="41834" y="402001"/>
                </a:cubicBezTo>
                <a:cubicBezTo>
                  <a:pt x="45684" y="398432"/>
                  <a:pt x="50238" y="396648"/>
                  <a:pt x="55497" y="396648"/>
                </a:cubicBezTo>
                <a:lnTo>
                  <a:pt x="72117" y="396648"/>
                </a:lnTo>
                <a:close/>
                <a:moveTo>
                  <a:pt x="270442" y="0"/>
                </a:moveTo>
                <a:lnTo>
                  <a:pt x="540883" y="108177"/>
                </a:lnTo>
                <a:lnTo>
                  <a:pt x="540883" y="144236"/>
                </a:lnTo>
                <a:lnTo>
                  <a:pt x="504825" y="144236"/>
                </a:lnTo>
                <a:cubicBezTo>
                  <a:pt x="504825" y="149119"/>
                  <a:pt x="502900" y="153344"/>
                  <a:pt x="499050" y="156913"/>
                </a:cubicBezTo>
                <a:cubicBezTo>
                  <a:pt x="495200" y="160481"/>
                  <a:pt x="490645" y="162265"/>
                  <a:pt x="485387" y="162265"/>
                </a:cubicBezTo>
                <a:lnTo>
                  <a:pt x="55497" y="162265"/>
                </a:lnTo>
                <a:cubicBezTo>
                  <a:pt x="50238" y="162265"/>
                  <a:pt x="45684" y="160481"/>
                  <a:pt x="41834" y="156913"/>
                </a:cubicBezTo>
                <a:cubicBezTo>
                  <a:pt x="37984" y="153344"/>
                  <a:pt x="36058" y="149119"/>
                  <a:pt x="36058" y="144236"/>
                </a:cubicBezTo>
                <a:lnTo>
                  <a:pt x="0" y="144236"/>
                </a:lnTo>
                <a:lnTo>
                  <a:pt x="0" y="10817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376" tIns="45688" rIns="91376" bIns="45688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文字方塊 40"/>
          <p:cNvSpPr txBox="1"/>
          <p:nvPr/>
        </p:nvSpPr>
        <p:spPr>
          <a:xfrm>
            <a:off x="5061158" y="3974133"/>
            <a:ext cx="1107866" cy="369267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台北市圖</a:t>
            </a:r>
            <a:endParaRPr lang="zh-TW" altLang="en-US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2" name="文字方塊 41"/>
          <p:cNvSpPr txBox="1"/>
          <p:nvPr/>
        </p:nvSpPr>
        <p:spPr>
          <a:xfrm>
            <a:off x="6132422" y="3974133"/>
            <a:ext cx="646202" cy="369267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台大</a:t>
            </a:r>
            <a:endParaRPr lang="zh-TW" altLang="en-US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3" name="文字方塊 42"/>
          <p:cNvSpPr txBox="1"/>
          <p:nvPr/>
        </p:nvSpPr>
        <p:spPr>
          <a:xfrm>
            <a:off x="6818222" y="3974133"/>
            <a:ext cx="646202" cy="369267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師大</a:t>
            </a:r>
            <a:endParaRPr lang="zh-TW" altLang="en-US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4" name="文字方塊 43"/>
          <p:cNvSpPr txBox="1"/>
          <p:nvPr/>
        </p:nvSpPr>
        <p:spPr>
          <a:xfrm>
            <a:off x="7504022" y="3974133"/>
            <a:ext cx="646202" cy="369267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淡江</a:t>
            </a:r>
            <a:endParaRPr lang="zh-TW" altLang="en-US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45" name="Picture 2" descr="http://www.airiti.com/tw/One-Page/assets/img/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5424" y="5506101"/>
            <a:ext cx="1085201" cy="410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文字方塊 45"/>
          <p:cNvSpPr txBox="1"/>
          <p:nvPr/>
        </p:nvSpPr>
        <p:spPr>
          <a:xfrm>
            <a:off x="5263348" y="5315120"/>
            <a:ext cx="2087302" cy="369267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L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華藝線上圖書館</a:t>
            </a:r>
            <a:endParaRPr lang="zh-TW" altLang="en-US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7" name="文字方塊 46"/>
          <p:cNvSpPr txBox="1"/>
          <p:nvPr/>
        </p:nvSpPr>
        <p:spPr>
          <a:xfrm>
            <a:off x="5263348" y="5711552"/>
            <a:ext cx="1809982" cy="369267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BC</a:t>
            </a:r>
            <a:r>
              <a:rPr lang="zh-TW" altLang="en-US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華藝電子書</a:t>
            </a:r>
            <a:endParaRPr lang="zh-TW" altLang="en-US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8" name="文字方塊 47"/>
          <p:cNvSpPr txBox="1"/>
          <p:nvPr/>
        </p:nvSpPr>
        <p:spPr>
          <a:xfrm>
            <a:off x="7311348" y="5684387"/>
            <a:ext cx="1159227" cy="369267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r>
              <a:rPr lang="en-US" altLang="zh-TW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OTHER…</a:t>
            </a:r>
            <a:endParaRPr lang="zh-TW" altLang="en-US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52" name="直線接點 51"/>
          <p:cNvCxnSpPr/>
          <p:nvPr/>
        </p:nvCxnSpPr>
        <p:spPr>
          <a:xfrm flipH="1">
            <a:off x="413927" y="2553771"/>
            <a:ext cx="2710273" cy="0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3" name="文字方塊 52"/>
          <p:cNvSpPr txBox="1"/>
          <p:nvPr/>
        </p:nvSpPr>
        <p:spPr>
          <a:xfrm>
            <a:off x="324798" y="2705109"/>
            <a:ext cx="4121254" cy="400045"/>
          </a:xfrm>
          <a:prstGeom prst="rect">
            <a:avLst/>
          </a:prstGeom>
          <a:noFill/>
        </p:spPr>
        <p:txBody>
          <a:bodyPr wrap="square" lIns="91376" tIns="45688" rIns="91376" bIns="45688" rtlCol="0">
            <a:spAutoFit/>
          </a:bodyPr>
          <a:lstStyle/>
          <a:p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註冊</a:t>
            </a:r>
            <a:r>
              <a:rPr lang="en-US" altLang="zh-TW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iriti</a:t>
            </a:r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帳號或以</a:t>
            </a:r>
            <a:r>
              <a:rPr lang="en-US" altLang="zh-TW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L</a:t>
            </a:r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帳號登入</a:t>
            </a:r>
            <a:endParaRPr lang="zh-TW" altLang="en-US" sz="20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54" name="直線接點 53"/>
          <p:cNvCxnSpPr/>
          <p:nvPr/>
        </p:nvCxnSpPr>
        <p:spPr>
          <a:xfrm flipH="1">
            <a:off x="413927" y="3810004"/>
            <a:ext cx="2710273" cy="0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5" name="文字方塊 54"/>
          <p:cNvSpPr txBox="1"/>
          <p:nvPr/>
        </p:nvSpPr>
        <p:spPr>
          <a:xfrm>
            <a:off x="307975" y="3914775"/>
            <a:ext cx="3810000" cy="400045"/>
          </a:xfrm>
          <a:prstGeom prst="rect">
            <a:avLst/>
          </a:prstGeom>
          <a:noFill/>
        </p:spPr>
        <p:txBody>
          <a:bodyPr wrap="square" lIns="91376" tIns="45688" rIns="91376" bIns="45688" rtlCol="0">
            <a:spAutoFit/>
          </a:bodyPr>
          <a:lstStyle/>
          <a:p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綁定您的圖書館電子書使用權限</a:t>
            </a:r>
            <a:endParaRPr lang="en-US" altLang="zh-TW" sz="20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6" name="文字方塊 55"/>
          <p:cNvSpPr txBox="1"/>
          <p:nvPr/>
        </p:nvSpPr>
        <p:spPr>
          <a:xfrm>
            <a:off x="324798" y="5273073"/>
            <a:ext cx="2679699" cy="400045"/>
          </a:xfrm>
          <a:prstGeom prst="rect">
            <a:avLst/>
          </a:prstGeom>
          <a:noFill/>
        </p:spPr>
        <p:txBody>
          <a:bodyPr wrap="square" lIns="91376" tIns="45688" rIns="91376" bIns="45688" rtlCol="0">
            <a:spAutoFit/>
          </a:bodyPr>
          <a:lstStyle/>
          <a:p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使用華藝</a:t>
            </a:r>
            <a:r>
              <a:rPr lang="zh-TW" altLang="en-US" sz="2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的電子資源</a:t>
            </a:r>
          </a:p>
        </p:txBody>
      </p:sp>
      <p:cxnSp>
        <p:nvCxnSpPr>
          <p:cNvPr id="57" name="直線接點 56"/>
          <p:cNvCxnSpPr/>
          <p:nvPr/>
        </p:nvCxnSpPr>
        <p:spPr>
          <a:xfrm flipH="1">
            <a:off x="438761" y="5138057"/>
            <a:ext cx="2685439" cy="0"/>
          </a:xfrm>
          <a:prstGeom prst="line">
            <a:avLst/>
          </a:prstGeom>
          <a:ln w="28575">
            <a:solidFill>
              <a:srgbClr val="00B0F0"/>
            </a:solidFill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8" name="文字方塊 57"/>
          <p:cNvSpPr txBox="1"/>
          <p:nvPr/>
        </p:nvSpPr>
        <p:spPr>
          <a:xfrm>
            <a:off x="4563094" y="1668501"/>
            <a:ext cx="3363292" cy="461600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r>
              <a:rPr lang="zh-TW" altLang="en-US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全新</a:t>
            </a:r>
            <a:r>
              <a:rPr lang="en-US" altLang="zh-TW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iriti</a:t>
            </a:r>
            <a:r>
              <a:rPr lang="zh-TW" altLang="en-US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通用</a:t>
            </a:r>
            <a:r>
              <a:rPr lang="zh-TW" altLang="en-US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帳號</a:t>
            </a:r>
            <a:r>
              <a:rPr lang="zh-TW" altLang="en-US" sz="24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機制</a:t>
            </a:r>
            <a:endParaRPr lang="zh-TW" altLang="en-US" sz="24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3" name="文字方塊 12"/>
          <p:cNvSpPr txBox="1"/>
          <p:nvPr/>
        </p:nvSpPr>
        <p:spPr>
          <a:xfrm>
            <a:off x="390933" y="2057400"/>
            <a:ext cx="13131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2400" b="1" dirty="0" smtClean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個人</a:t>
            </a:r>
            <a:r>
              <a:rPr lang="zh-TW" altLang="en-US" sz="2000" b="1" dirty="0" smtClean="0">
                <a:solidFill>
                  <a:schemeClr val="accent6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身分</a:t>
            </a:r>
            <a:endParaRPr lang="zh-TW" altLang="en-US" sz="2000" b="1" dirty="0">
              <a:solidFill>
                <a:schemeClr val="accent6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9" name="文字方塊 58"/>
          <p:cNvSpPr txBox="1"/>
          <p:nvPr/>
        </p:nvSpPr>
        <p:spPr>
          <a:xfrm>
            <a:off x="381000" y="3276600"/>
            <a:ext cx="23391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2400" b="1" dirty="0" smtClean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擁有</a:t>
            </a:r>
            <a:r>
              <a:rPr lang="zh-TW" altLang="en-US" sz="2000" b="1" dirty="0" smtClean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圖書館權限</a:t>
            </a:r>
            <a:endParaRPr lang="zh-TW" altLang="en-US" sz="2000" b="1" dirty="0">
              <a:solidFill>
                <a:schemeClr val="tx2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0" name="文字方塊 59"/>
          <p:cNvSpPr txBox="1"/>
          <p:nvPr/>
        </p:nvSpPr>
        <p:spPr>
          <a:xfrm>
            <a:off x="381000" y="4648200"/>
            <a:ext cx="2646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2400" b="1" dirty="0" smtClean="0">
                <a:solidFill>
                  <a:srgbClr val="00B0F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可使用</a:t>
            </a:r>
            <a:r>
              <a:rPr lang="zh-TW" altLang="en-US" sz="2000" b="1" dirty="0" smtClean="0">
                <a:solidFill>
                  <a:srgbClr val="00B0F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圖書館資源</a:t>
            </a:r>
            <a:endParaRPr lang="zh-TW" altLang="en-US" sz="2000" b="1" dirty="0">
              <a:solidFill>
                <a:srgbClr val="00B0F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2471964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>
              <a:solidFill>
                <a:prstClr val="black"/>
              </a:solidFill>
            </a:endParaRPr>
          </a:p>
        </p:txBody>
      </p:sp>
      <p:sp>
        <p:nvSpPr>
          <p:cNvPr id="17" name="標題 2"/>
          <p:cNvSpPr txBox="1">
            <a:spLocks/>
          </p:cNvSpPr>
          <p:nvPr/>
        </p:nvSpPr>
        <p:spPr>
          <a:xfrm>
            <a:off x="2514600" y="228600"/>
            <a:ext cx="5029200" cy="914400"/>
          </a:xfrm>
          <a:prstGeom prst="rect">
            <a:avLst/>
          </a:prstGeom>
        </p:spPr>
        <p:txBody>
          <a:bodyPr vert="horz" lIns="91392" tIns="45696" rIns="91392" bIns="45696" rtlCol="0" anchor="ctr">
            <a:normAutofit/>
          </a:bodyPr>
          <a:lstStyle>
            <a:lvl1pPr algn="ctr" defTabSz="913916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TW" altLang="en-US" sz="3600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註冊登入</a:t>
            </a:r>
            <a:endParaRPr lang="zh-TW" altLang="en-US" sz="2800" dirty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9" name="Freeform 3447">
            <a:extLst>
              <a:ext uri="{FF2B5EF4-FFF2-40B4-BE49-F238E27FC236}">
                <a16:creationId xmlns="" xmlns:a16="http://schemas.microsoft.com/office/drawing/2014/main" id="{4F188ED1-C7AA-4888-83A0-9D55EBA024AE}"/>
              </a:ext>
            </a:extLst>
          </p:cNvPr>
          <p:cNvSpPr>
            <a:spLocks noEditPoints="1"/>
          </p:cNvSpPr>
          <p:nvPr/>
        </p:nvSpPr>
        <p:spPr bwMode="auto">
          <a:xfrm>
            <a:off x="1777800" y="457200"/>
            <a:ext cx="432000" cy="432000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14" name="直線接點 13"/>
          <p:cNvCxnSpPr/>
          <p:nvPr/>
        </p:nvCxnSpPr>
        <p:spPr>
          <a:xfrm flipV="1">
            <a:off x="381000" y="3678809"/>
            <a:ext cx="2968625" cy="120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字方塊 14"/>
          <p:cNvSpPr txBox="1"/>
          <p:nvPr/>
        </p:nvSpPr>
        <p:spPr>
          <a:xfrm>
            <a:off x="457200" y="2669627"/>
            <a:ext cx="2933199" cy="969432"/>
          </a:xfrm>
          <a:prstGeom prst="rect">
            <a:avLst/>
          </a:prstGeom>
          <a:noFill/>
        </p:spPr>
        <p:txBody>
          <a:bodyPr wrap="square" lIns="91376" tIns="45688" rIns="91376" bIns="4568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000" b="1" dirty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ep1 </a:t>
            </a:r>
          </a:p>
          <a:p>
            <a:pPr>
              <a:lnSpc>
                <a:spcPct val="150000"/>
              </a:lnSpc>
            </a:pPr>
            <a:r>
              <a:rPr lang="zh-TW" altLang="en-US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註冊</a:t>
            </a:r>
            <a:r>
              <a:rPr lang="en-US" altLang="zh-TW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riti</a:t>
            </a:r>
            <a:r>
              <a:rPr lang="zh-TW" altLang="en-US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帳號</a:t>
            </a:r>
            <a:r>
              <a:rPr lang="en-US" altLang="zh-TW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登入</a:t>
            </a:r>
            <a:r>
              <a:rPr lang="en-US" altLang="zh-TW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L</a:t>
            </a:r>
            <a:r>
              <a:rPr lang="zh-TW" altLang="en-US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帳號</a:t>
            </a:r>
          </a:p>
        </p:txBody>
      </p:sp>
      <p:cxnSp>
        <p:nvCxnSpPr>
          <p:cNvPr id="18" name="直線接點 17"/>
          <p:cNvCxnSpPr/>
          <p:nvPr/>
        </p:nvCxnSpPr>
        <p:spPr>
          <a:xfrm flipV="1">
            <a:off x="4937258" y="3653716"/>
            <a:ext cx="1979900" cy="17266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字方塊 21"/>
          <p:cNvSpPr txBox="1"/>
          <p:nvPr/>
        </p:nvSpPr>
        <p:spPr>
          <a:xfrm>
            <a:off x="4972884" y="2638118"/>
            <a:ext cx="1979900" cy="1015598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000" b="1" dirty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ep3</a:t>
            </a:r>
          </a:p>
          <a:p>
            <a:pPr>
              <a:lnSpc>
                <a:spcPct val="150000"/>
              </a:lnSpc>
            </a:pPr>
            <a:r>
              <a:rPr lang="zh-TW" altLang="en-US" sz="20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綁定電子書權限</a:t>
            </a:r>
          </a:p>
        </p:txBody>
      </p:sp>
      <p:cxnSp>
        <p:nvCxnSpPr>
          <p:cNvPr id="23" name="直線接點 22"/>
          <p:cNvCxnSpPr/>
          <p:nvPr/>
        </p:nvCxnSpPr>
        <p:spPr>
          <a:xfrm>
            <a:off x="3469743" y="3678808"/>
            <a:ext cx="1404157" cy="1201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字方塊 24"/>
          <p:cNvSpPr txBox="1"/>
          <p:nvPr/>
        </p:nvSpPr>
        <p:spPr>
          <a:xfrm>
            <a:off x="3531480" y="2664411"/>
            <a:ext cx="1210459" cy="1015598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000" b="1" dirty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ep2</a:t>
            </a:r>
          </a:p>
          <a:p>
            <a:pPr>
              <a:lnSpc>
                <a:spcPct val="150000"/>
              </a:lnSpc>
            </a:pPr>
            <a:r>
              <a:rPr lang="zh-TW" altLang="en-US" sz="20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箱認證</a:t>
            </a:r>
            <a:endParaRPr lang="zh-TW" altLang="en-US" sz="20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2" name="文字方塊 31"/>
          <p:cNvSpPr txBox="1"/>
          <p:nvPr/>
        </p:nvSpPr>
        <p:spPr>
          <a:xfrm>
            <a:off x="5068629" y="5097147"/>
            <a:ext cx="21307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1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一起完成註冊登入吧</a:t>
            </a:r>
            <a:r>
              <a:rPr lang="en-US" altLang="zh-TW" sz="16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!</a:t>
            </a:r>
            <a:endParaRPr lang="zh-TW" altLang="en-US" sz="16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26" name="直線接點 25"/>
          <p:cNvCxnSpPr/>
          <p:nvPr/>
        </p:nvCxnSpPr>
        <p:spPr>
          <a:xfrm>
            <a:off x="7010400" y="3657600"/>
            <a:ext cx="1856405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文字方塊 34"/>
          <p:cNvSpPr txBox="1"/>
          <p:nvPr/>
        </p:nvSpPr>
        <p:spPr>
          <a:xfrm>
            <a:off x="6977847" y="2638180"/>
            <a:ext cx="1723420" cy="1015598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000" b="1" dirty="0" smtClean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ep4</a:t>
            </a:r>
            <a:endParaRPr lang="en-US" altLang="zh-TW" sz="2000" b="1" dirty="0">
              <a:solidFill>
                <a:srgbClr val="00206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sz="20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電子資源</a:t>
            </a:r>
            <a:endParaRPr lang="zh-TW" altLang="en-US" sz="20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3314" name="Picture 2" descr="https://i.gyazo.com/ad26de09ead0d4cde2f59fd08dc80b6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0295" y="5266424"/>
            <a:ext cx="1478524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20863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>
              <a:solidFill>
                <a:prstClr val="black"/>
              </a:solidFill>
            </a:endParaRPr>
          </a:p>
        </p:txBody>
      </p:sp>
      <p:sp>
        <p:nvSpPr>
          <p:cNvPr id="17" name="標題 2"/>
          <p:cNvSpPr txBox="1">
            <a:spLocks/>
          </p:cNvSpPr>
          <p:nvPr/>
        </p:nvSpPr>
        <p:spPr>
          <a:xfrm>
            <a:off x="2514600" y="228600"/>
            <a:ext cx="5029200" cy="914400"/>
          </a:xfrm>
          <a:prstGeom prst="rect">
            <a:avLst/>
          </a:prstGeom>
        </p:spPr>
        <p:txBody>
          <a:bodyPr vert="horz" lIns="91392" tIns="45696" rIns="91392" bIns="45696" rtlCol="0" anchor="ctr">
            <a:normAutofit/>
          </a:bodyPr>
          <a:lstStyle>
            <a:lvl1pPr algn="ctr" defTabSz="913916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TW" altLang="en-US" sz="36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註冊登入</a:t>
            </a:r>
            <a:endParaRPr lang="zh-TW" altLang="en-US" sz="28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9" name="Freeform 3447">
            <a:extLst>
              <a:ext uri="{FF2B5EF4-FFF2-40B4-BE49-F238E27FC236}">
                <a16:creationId xmlns="" xmlns:a16="http://schemas.microsoft.com/office/drawing/2014/main" id="{4F188ED1-C7AA-4888-83A0-9D55EBA024AE}"/>
              </a:ext>
            </a:extLst>
          </p:cNvPr>
          <p:cNvSpPr>
            <a:spLocks noEditPoints="1"/>
          </p:cNvSpPr>
          <p:nvPr/>
        </p:nvSpPr>
        <p:spPr bwMode="auto">
          <a:xfrm>
            <a:off x="1777800" y="457200"/>
            <a:ext cx="432000" cy="432000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23" name="直線接點 22"/>
          <p:cNvCxnSpPr/>
          <p:nvPr/>
        </p:nvCxnSpPr>
        <p:spPr>
          <a:xfrm>
            <a:off x="323532" y="2688857"/>
            <a:ext cx="2585837" cy="552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字方塊 24"/>
          <p:cNvSpPr txBox="1"/>
          <p:nvPr/>
        </p:nvSpPr>
        <p:spPr>
          <a:xfrm>
            <a:off x="456517" y="1727602"/>
            <a:ext cx="2319737" cy="1015598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000" b="1" dirty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ep1 </a:t>
            </a:r>
          </a:p>
          <a:p>
            <a:pPr>
              <a:lnSpc>
                <a:spcPct val="150000"/>
              </a:lnSpc>
            </a:pPr>
            <a:r>
              <a:rPr lang="zh-TW" altLang="en-US" sz="20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註冊</a:t>
            </a:r>
            <a:r>
              <a:rPr lang="en-US" altLang="zh-TW" sz="20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riti</a:t>
            </a:r>
            <a:r>
              <a:rPr lang="zh-TW" altLang="en-US" sz="20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個人帳號</a:t>
            </a:r>
          </a:p>
        </p:txBody>
      </p:sp>
      <p:sp>
        <p:nvSpPr>
          <p:cNvPr id="27" name="矩形 26"/>
          <p:cNvSpPr/>
          <p:nvPr/>
        </p:nvSpPr>
        <p:spPr>
          <a:xfrm>
            <a:off x="323533" y="2997026"/>
            <a:ext cx="2585836" cy="2489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/>
            <a:endParaRPr lang="zh-TW" altLang="en-US"/>
          </a:p>
        </p:txBody>
      </p:sp>
      <p:sp>
        <p:nvSpPr>
          <p:cNvPr id="28" name="文字方塊 27"/>
          <p:cNvSpPr txBox="1"/>
          <p:nvPr/>
        </p:nvSpPr>
        <p:spPr>
          <a:xfrm>
            <a:off x="460375" y="3032830"/>
            <a:ext cx="2315879" cy="1938928"/>
          </a:xfrm>
          <a:prstGeom prst="rect">
            <a:avLst/>
          </a:prstGeom>
          <a:noFill/>
        </p:spPr>
        <p:txBody>
          <a:bodyPr wrap="square" lIns="91376" tIns="45688" rIns="91376" bIns="4568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依據您是否擁有</a:t>
            </a:r>
            <a:r>
              <a:rPr lang="en-US" altLang="zh-TW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L</a:t>
            </a:r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帳號，選擇：</a:t>
            </a:r>
            <a:endParaRPr lang="en-US" altLang="zh-TW" sz="2000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以</a:t>
            </a:r>
            <a:r>
              <a:rPr lang="en-US" altLang="zh-TW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L</a:t>
            </a:r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帳號直接登入，或是註冊</a:t>
            </a:r>
            <a:r>
              <a:rPr lang="en-US" altLang="zh-TW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Airiti</a:t>
            </a:r>
            <a:r>
              <a:rPr lang="zh-TW" altLang="en-US" sz="20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帳號。</a:t>
            </a:r>
            <a:endParaRPr lang="zh-TW" altLang="en-US" sz="20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825" y="1600200"/>
            <a:ext cx="3914775" cy="4991100"/>
          </a:xfrm>
          <a:prstGeom prst="rect">
            <a:avLst/>
          </a:prstGeom>
          <a:noFill/>
          <a:ln w="3175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0" name="矩形 29"/>
          <p:cNvSpPr/>
          <p:nvPr/>
        </p:nvSpPr>
        <p:spPr>
          <a:xfrm>
            <a:off x="5410200" y="3013346"/>
            <a:ext cx="2514600" cy="576000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1" name="矩形 30"/>
          <p:cNvSpPr/>
          <p:nvPr/>
        </p:nvSpPr>
        <p:spPr>
          <a:xfrm>
            <a:off x="5826393" y="4789378"/>
            <a:ext cx="1600200" cy="432000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6" name="矩形 5"/>
          <p:cNvSpPr/>
          <p:nvPr/>
        </p:nvSpPr>
        <p:spPr>
          <a:xfrm>
            <a:off x="3644735" y="4789378"/>
            <a:ext cx="1631003" cy="432000"/>
          </a:xfrm>
          <a:prstGeom prst="rect">
            <a:avLst/>
          </a:prstGeom>
          <a:solidFill>
            <a:schemeClr val="bg1"/>
          </a:solidFill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6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以</a:t>
            </a:r>
            <a:r>
              <a:rPr lang="en-US" altLang="zh-TW" sz="1600" b="1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L</a:t>
            </a:r>
            <a:r>
              <a:rPr lang="zh-TW" altLang="en-US" sz="16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帳號登入</a:t>
            </a:r>
            <a:endParaRPr lang="zh-TW" altLang="en-US" sz="16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32" name="直線單箭頭接點 31"/>
          <p:cNvCxnSpPr>
            <a:stCxn id="6" idx="3"/>
            <a:endCxn id="31" idx="1"/>
          </p:cNvCxnSpPr>
          <p:nvPr/>
        </p:nvCxnSpPr>
        <p:spPr>
          <a:xfrm>
            <a:off x="5275738" y="5005378"/>
            <a:ext cx="550655" cy="0"/>
          </a:xfrm>
          <a:prstGeom prst="straightConnector1">
            <a:avLst/>
          </a:prstGeom>
          <a:ln w="19050">
            <a:solidFill>
              <a:srgbClr val="FF5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/>
          <p:cNvSpPr/>
          <p:nvPr/>
        </p:nvSpPr>
        <p:spPr>
          <a:xfrm>
            <a:off x="3436917" y="3085346"/>
            <a:ext cx="1631003" cy="432000"/>
          </a:xfrm>
          <a:prstGeom prst="rect">
            <a:avLst/>
          </a:prstGeom>
          <a:solidFill>
            <a:schemeClr val="bg1"/>
          </a:solidFill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6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註冊</a:t>
            </a:r>
            <a:r>
              <a:rPr lang="en-US" altLang="zh-TW" sz="16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riti</a:t>
            </a:r>
            <a:r>
              <a:rPr lang="zh-TW" altLang="en-US" sz="16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帳號</a:t>
            </a:r>
            <a:endParaRPr lang="zh-TW" altLang="en-US" sz="16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34" name="直線單箭頭接點 33"/>
          <p:cNvCxnSpPr>
            <a:stCxn id="33" idx="3"/>
            <a:endCxn id="30" idx="1"/>
          </p:cNvCxnSpPr>
          <p:nvPr/>
        </p:nvCxnSpPr>
        <p:spPr>
          <a:xfrm>
            <a:off x="5067920" y="3301346"/>
            <a:ext cx="342280" cy="0"/>
          </a:xfrm>
          <a:prstGeom prst="straightConnector1">
            <a:avLst/>
          </a:prstGeom>
          <a:ln w="19050">
            <a:solidFill>
              <a:srgbClr val="FF5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字方塊 17"/>
          <p:cNvSpPr txBox="1"/>
          <p:nvPr/>
        </p:nvSpPr>
        <p:spPr>
          <a:xfrm>
            <a:off x="5067919" y="3679195"/>
            <a:ext cx="1558573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zh-TW" sz="105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riti</a:t>
            </a:r>
            <a:r>
              <a:rPr lang="zh-TW" altLang="en-US" sz="105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05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Reader</a:t>
            </a:r>
            <a:r>
              <a:rPr lang="zh-TW" altLang="en-US" sz="105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帳密登入</a:t>
            </a:r>
            <a:endParaRPr lang="zh-TW" altLang="en-US" sz="105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210595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>
              <a:solidFill>
                <a:prstClr val="black"/>
              </a:solidFill>
            </a:endParaRPr>
          </a:p>
        </p:txBody>
      </p:sp>
      <p:sp>
        <p:nvSpPr>
          <p:cNvPr id="17" name="標題 2"/>
          <p:cNvSpPr txBox="1">
            <a:spLocks/>
          </p:cNvSpPr>
          <p:nvPr/>
        </p:nvSpPr>
        <p:spPr>
          <a:xfrm>
            <a:off x="2514600" y="228600"/>
            <a:ext cx="5029200" cy="914400"/>
          </a:xfrm>
          <a:prstGeom prst="rect">
            <a:avLst/>
          </a:prstGeom>
        </p:spPr>
        <p:txBody>
          <a:bodyPr vert="horz" lIns="91392" tIns="45696" rIns="91392" bIns="45696" rtlCol="0" anchor="ctr">
            <a:normAutofit/>
          </a:bodyPr>
          <a:lstStyle>
            <a:lvl1pPr algn="ctr" defTabSz="913916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TW" altLang="en-US" sz="3600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註冊登入</a:t>
            </a:r>
            <a:endParaRPr lang="zh-TW" altLang="en-US" sz="2800" dirty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9" name="Freeform 3447">
            <a:extLst>
              <a:ext uri="{FF2B5EF4-FFF2-40B4-BE49-F238E27FC236}">
                <a16:creationId xmlns="" xmlns:a16="http://schemas.microsoft.com/office/drawing/2014/main" id="{4F188ED1-C7AA-4888-83A0-9D55EBA024AE}"/>
              </a:ext>
            </a:extLst>
          </p:cNvPr>
          <p:cNvSpPr>
            <a:spLocks noEditPoints="1"/>
          </p:cNvSpPr>
          <p:nvPr/>
        </p:nvSpPr>
        <p:spPr bwMode="auto">
          <a:xfrm>
            <a:off x="1777800" y="457200"/>
            <a:ext cx="432000" cy="432000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23" name="直線接點 22"/>
          <p:cNvCxnSpPr/>
          <p:nvPr/>
        </p:nvCxnSpPr>
        <p:spPr>
          <a:xfrm>
            <a:off x="323532" y="2561455"/>
            <a:ext cx="2800667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字方塊 24"/>
          <p:cNvSpPr txBox="1"/>
          <p:nvPr/>
        </p:nvSpPr>
        <p:spPr>
          <a:xfrm>
            <a:off x="456517" y="1600200"/>
            <a:ext cx="1210459" cy="1015598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000" b="1" dirty="0" smtClean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ep2 </a:t>
            </a:r>
            <a:endParaRPr lang="en-US" altLang="zh-TW" sz="2000" b="1" dirty="0">
              <a:solidFill>
                <a:srgbClr val="00206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sz="20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箱認證</a:t>
            </a:r>
            <a:endParaRPr lang="zh-TW" altLang="en-US" sz="20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23532" y="2819401"/>
            <a:ext cx="2876868" cy="33763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28" name="文字方塊 27"/>
          <p:cNvSpPr txBox="1"/>
          <p:nvPr/>
        </p:nvSpPr>
        <p:spPr>
          <a:xfrm>
            <a:off x="339366" y="2820391"/>
            <a:ext cx="2876867" cy="3785587"/>
          </a:xfrm>
          <a:prstGeom prst="rect">
            <a:avLst/>
          </a:prstGeom>
          <a:noFill/>
        </p:spPr>
        <p:txBody>
          <a:bodyPr wrap="square" lIns="91376" tIns="45688" rIns="91376" bIns="4568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sz="2000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註冊完</a:t>
            </a:r>
            <a:r>
              <a:rPr lang="en-US" altLang="zh-TW" sz="2000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iriti</a:t>
            </a:r>
            <a:r>
              <a:rPr lang="zh-TW" altLang="en-US" sz="2000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帳號後，請至信箱收取認證信開通帳號。</a:t>
            </a:r>
            <a:endParaRPr lang="en-US" altLang="zh-TW" sz="2000" dirty="0" smtClean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endParaRPr lang="en-US" altLang="zh-TW" sz="2000" dirty="0" smtClean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sz="1600" dirty="0" smtClean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*</a:t>
            </a:r>
            <a:r>
              <a:rPr lang="zh-TW" altLang="en-US" sz="1400" dirty="0" smtClean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請</a:t>
            </a:r>
            <a:r>
              <a:rPr lang="zh-TW" altLang="en-US" sz="1400" dirty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有效電子郵件註冊，以便收取註冊認證</a:t>
            </a:r>
            <a:r>
              <a:rPr lang="zh-TW" altLang="en-US" sz="1400" dirty="0" smtClean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信</a:t>
            </a:r>
            <a:endParaRPr lang="en-US" altLang="zh-TW" sz="1400" dirty="0" smtClean="0">
              <a:solidFill>
                <a:srgbClr val="FF505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sz="1400" dirty="0" smtClean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*</a:t>
            </a:r>
            <a:r>
              <a:rPr lang="zh-TW" altLang="en-US" sz="1400" dirty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若您以</a:t>
            </a:r>
            <a:r>
              <a:rPr lang="en-US" altLang="zh-TW" sz="1400" dirty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L</a:t>
            </a:r>
            <a:r>
              <a:rPr lang="zh-TW" altLang="en-US" sz="1400" dirty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帳號登入，會直接進入</a:t>
            </a:r>
            <a:r>
              <a:rPr lang="en-US" altLang="zh-TW" sz="1400" dirty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ep3 </a:t>
            </a:r>
            <a:r>
              <a:rPr lang="zh-TW" altLang="en-US" sz="1400" dirty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權限綁定</a:t>
            </a:r>
            <a:endParaRPr lang="en-US" altLang="zh-TW" sz="1400" dirty="0">
              <a:solidFill>
                <a:srgbClr val="FF505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endParaRPr lang="zh-TW" altLang="en-US" sz="16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8" name="Picture 2" descr="https://i.gyazo.com/7df91e47b883ac62a19eeb22d119d9f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999" y="1736508"/>
            <a:ext cx="4474319" cy="291600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https://i.gyazo.com/9f7a46a02e109ac1a61af7c876e6d599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17"/>
          <a:stretch/>
        </p:blipFill>
        <p:spPr bwMode="auto">
          <a:xfrm>
            <a:off x="3581400" y="4114800"/>
            <a:ext cx="5400000" cy="2080942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肘形接點 8"/>
          <p:cNvCxnSpPr/>
          <p:nvPr/>
        </p:nvCxnSpPr>
        <p:spPr>
          <a:xfrm rot="16200000" flipH="1">
            <a:off x="8001000" y="2730326"/>
            <a:ext cx="838200" cy="533400"/>
          </a:xfrm>
          <a:prstGeom prst="bentConnector3">
            <a:avLst>
              <a:gd name="adj1" fmla="val 1830"/>
            </a:avLst>
          </a:prstGeom>
          <a:ln w="19050">
            <a:solidFill>
              <a:srgbClr val="FF5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09210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1">
            <a:extLst>
              <a:ext uri="{FF2B5EF4-FFF2-40B4-BE49-F238E27FC236}">
                <a16:creationId xmlns="" xmlns:a16="http://schemas.microsoft.com/office/drawing/2014/main" id="{B74543A3-A871-44B0-9BA4-4FD784D7E9E8}"/>
              </a:ext>
            </a:extLst>
          </p:cNvPr>
          <p:cNvSpPr/>
          <p:nvPr/>
        </p:nvSpPr>
        <p:spPr>
          <a:xfrm>
            <a:off x="-10886" y="0"/>
            <a:ext cx="9165772" cy="1219200"/>
          </a:xfrm>
          <a:prstGeom prst="rect">
            <a:avLst/>
          </a:prstGeom>
          <a:gradFill flip="none" rotWithShape="1">
            <a:gsLst>
              <a:gs pos="100000">
                <a:srgbClr val="BDE8C2">
                  <a:alpha val="96000"/>
                </a:srgbClr>
              </a:gs>
              <a:gs pos="79000">
                <a:srgbClr val="45C2C2">
                  <a:alpha val="80000"/>
                </a:srgbClr>
              </a:gs>
              <a:gs pos="52000">
                <a:srgbClr val="0681B0">
                  <a:alpha val="89000"/>
                </a:srgbClr>
              </a:gs>
              <a:gs pos="0">
                <a:srgbClr val="00248B">
                  <a:alpha val="96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 defTabSz="913755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AutoShape 2" descr="ç¸éåç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>
              <a:solidFill>
                <a:prstClr val="black"/>
              </a:solidFill>
            </a:endParaRPr>
          </a:p>
        </p:txBody>
      </p:sp>
      <p:sp>
        <p:nvSpPr>
          <p:cNvPr id="17" name="標題 2"/>
          <p:cNvSpPr txBox="1">
            <a:spLocks/>
          </p:cNvSpPr>
          <p:nvPr/>
        </p:nvSpPr>
        <p:spPr>
          <a:xfrm>
            <a:off x="2514600" y="228600"/>
            <a:ext cx="5029200" cy="914400"/>
          </a:xfrm>
          <a:prstGeom prst="rect">
            <a:avLst/>
          </a:prstGeom>
        </p:spPr>
        <p:txBody>
          <a:bodyPr vert="horz" lIns="91392" tIns="45696" rIns="91392" bIns="45696" rtlCol="0" anchor="ctr">
            <a:normAutofit/>
          </a:bodyPr>
          <a:lstStyle>
            <a:lvl1pPr algn="ctr" defTabSz="913916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TW" altLang="en-US" sz="3600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電子書平台 </a:t>
            </a:r>
            <a:r>
              <a:rPr lang="zh-TW" altLang="en-US" sz="3200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註冊登入</a:t>
            </a:r>
            <a:endParaRPr lang="zh-TW" altLang="en-US" sz="2800" dirty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9" name="Freeform 3447">
            <a:extLst>
              <a:ext uri="{FF2B5EF4-FFF2-40B4-BE49-F238E27FC236}">
                <a16:creationId xmlns="" xmlns:a16="http://schemas.microsoft.com/office/drawing/2014/main" id="{4F188ED1-C7AA-4888-83A0-9D55EBA024AE}"/>
              </a:ext>
            </a:extLst>
          </p:cNvPr>
          <p:cNvSpPr>
            <a:spLocks noEditPoints="1"/>
          </p:cNvSpPr>
          <p:nvPr/>
        </p:nvSpPr>
        <p:spPr bwMode="auto">
          <a:xfrm>
            <a:off x="1777800" y="457200"/>
            <a:ext cx="432000" cy="432000"/>
          </a:xfrm>
          <a:custGeom>
            <a:avLst/>
            <a:gdLst>
              <a:gd name="T0" fmla="*/ 482 w 720"/>
              <a:gd name="T1" fmla="*/ 537 h 721"/>
              <a:gd name="T2" fmla="*/ 445 w 720"/>
              <a:gd name="T3" fmla="*/ 450 h 721"/>
              <a:gd name="T4" fmla="*/ 477 w 720"/>
              <a:gd name="T5" fmla="*/ 370 h 721"/>
              <a:gd name="T6" fmla="*/ 495 w 720"/>
              <a:gd name="T7" fmla="*/ 345 h 721"/>
              <a:gd name="T8" fmla="*/ 488 w 720"/>
              <a:gd name="T9" fmla="*/ 298 h 721"/>
              <a:gd name="T10" fmla="*/ 493 w 720"/>
              <a:gd name="T11" fmla="*/ 246 h 721"/>
              <a:gd name="T12" fmla="*/ 486 w 720"/>
              <a:gd name="T13" fmla="*/ 178 h 721"/>
              <a:gd name="T14" fmla="*/ 450 w 720"/>
              <a:gd name="T15" fmla="*/ 148 h 721"/>
              <a:gd name="T16" fmla="*/ 351 w 720"/>
              <a:gd name="T17" fmla="*/ 139 h 721"/>
              <a:gd name="T18" fmla="*/ 283 w 720"/>
              <a:gd name="T19" fmla="*/ 170 h 721"/>
              <a:gd name="T20" fmla="*/ 251 w 720"/>
              <a:gd name="T21" fmla="*/ 184 h 721"/>
              <a:gd name="T22" fmla="*/ 229 w 720"/>
              <a:gd name="T23" fmla="*/ 218 h 721"/>
              <a:gd name="T24" fmla="*/ 240 w 720"/>
              <a:gd name="T25" fmla="*/ 292 h 721"/>
              <a:gd name="T26" fmla="*/ 223 w 720"/>
              <a:gd name="T27" fmla="*/ 331 h 721"/>
              <a:gd name="T28" fmla="*/ 235 w 720"/>
              <a:gd name="T29" fmla="*/ 364 h 721"/>
              <a:gd name="T30" fmla="*/ 260 w 720"/>
              <a:gd name="T31" fmla="*/ 433 h 721"/>
              <a:gd name="T32" fmla="*/ 272 w 720"/>
              <a:gd name="T33" fmla="*/ 524 h 721"/>
              <a:gd name="T34" fmla="*/ 133 w 720"/>
              <a:gd name="T35" fmla="*/ 573 h 721"/>
              <a:gd name="T36" fmla="*/ 65 w 720"/>
              <a:gd name="T37" fmla="*/ 523 h 721"/>
              <a:gd name="T38" fmla="*/ 32 w 720"/>
              <a:gd name="T39" fmla="*/ 437 h 721"/>
              <a:gd name="T40" fmla="*/ 24 w 720"/>
              <a:gd name="T41" fmla="*/ 343 h 721"/>
              <a:gd name="T42" fmla="*/ 43 w 720"/>
              <a:gd name="T43" fmla="*/ 244 h 721"/>
              <a:gd name="T44" fmla="*/ 91 w 720"/>
              <a:gd name="T45" fmla="*/ 160 h 721"/>
              <a:gd name="T46" fmla="*/ 159 w 720"/>
              <a:gd name="T47" fmla="*/ 92 h 721"/>
              <a:gd name="T48" fmla="*/ 244 w 720"/>
              <a:gd name="T49" fmla="*/ 44 h 721"/>
              <a:gd name="T50" fmla="*/ 342 w 720"/>
              <a:gd name="T51" fmla="*/ 25 h 721"/>
              <a:gd name="T52" fmla="*/ 444 w 720"/>
              <a:gd name="T53" fmla="*/ 35 h 721"/>
              <a:gd name="T54" fmla="*/ 534 w 720"/>
              <a:gd name="T55" fmla="*/ 72 h 721"/>
              <a:gd name="T56" fmla="*/ 608 w 720"/>
              <a:gd name="T57" fmla="*/ 134 h 721"/>
              <a:gd name="T58" fmla="*/ 663 w 720"/>
              <a:gd name="T59" fmla="*/ 215 h 721"/>
              <a:gd name="T60" fmla="*/ 692 w 720"/>
              <a:gd name="T61" fmla="*/ 310 h 721"/>
              <a:gd name="T62" fmla="*/ 693 w 720"/>
              <a:gd name="T63" fmla="*/ 408 h 721"/>
              <a:gd name="T64" fmla="*/ 669 w 720"/>
              <a:gd name="T65" fmla="*/ 495 h 721"/>
              <a:gd name="T66" fmla="*/ 620 w 720"/>
              <a:gd name="T67" fmla="*/ 573 h 721"/>
              <a:gd name="T68" fmla="*/ 287 w 720"/>
              <a:gd name="T69" fmla="*/ 7 h 721"/>
              <a:gd name="T70" fmla="*/ 188 w 720"/>
              <a:gd name="T71" fmla="*/ 44 h 721"/>
              <a:gd name="T72" fmla="*/ 105 w 720"/>
              <a:gd name="T73" fmla="*/ 106 h 721"/>
              <a:gd name="T74" fmla="*/ 43 w 720"/>
              <a:gd name="T75" fmla="*/ 189 h 721"/>
              <a:gd name="T76" fmla="*/ 6 w 720"/>
              <a:gd name="T77" fmla="*/ 288 h 721"/>
              <a:gd name="T78" fmla="*/ 1 w 720"/>
              <a:gd name="T79" fmla="*/ 395 h 721"/>
              <a:gd name="T80" fmla="*/ 25 w 720"/>
              <a:gd name="T81" fmla="*/ 495 h 721"/>
              <a:gd name="T82" fmla="*/ 75 w 720"/>
              <a:gd name="T83" fmla="*/ 582 h 721"/>
              <a:gd name="T84" fmla="*/ 98 w 720"/>
              <a:gd name="T85" fmla="*/ 609 h 721"/>
              <a:gd name="T86" fmla="*/ 98 w 720"/>
              <a:gd name="T87" fmla="*/ 609 h 721"/>
              <a:gd name="T88" fmla="*/ 98 w 720"/>
              <a:gd name="T89" fmla="*/ 609 h 721"/>
              <a:gd name="T90" fmla="*/ 98 w 720"/>
              <a:gd name="T91" fmla="*/ 609 h 721"/>
              <a:gd name="T92" fmla="*/ 98 w 720"/>
              <a:gd name="T93" fmla="*/ 609 h 721"/>
              <a:gd name="T94" fmla="*/ 172 w 720"/>
              <a:gd name="T95" fmla="*/ 666 h 721"/>
              <a:gd name="T96" fmla="*/ 272 w 720"/>
              <a:gd name="T97" fmla="*/ 709 h 721"/>
              <a:gd name="T98" fmla="*/ 377 w 720"/>
              <a:gd name="T99" fmla="*/ 721 h 721"/>
              <a:gd name="T100" fmla="*/ 482 w 720"/>
              <a:gd name="T101" fmla="*/ 698 h 721"/>
              <a:gd name="T102" fmla="*/ 579 w 720"/>
              <a:gd name="T103" fmla="*/ 645 h 721"/>
              <a:gd name="T104" fmla="*/ 633 w 720"/>
              <a:gd name="T105" fmla="*/ 596 h 721"/>
              <a:gd name="T106" fmla="*/ 688 w 720"/>
              <a:gd name="T107" fmla="*/ 510 h 721"/>
              <a:gd name="T108" fmla="*/ 716 w 720"/>
              <a:gd name="T109" fmla="*/ 413 h 721"/>
              <a:gd name="T110" fmla="*/ 716 w 720"/>
              <a:gd name="T111" fmla="*/ 306 h 721"/>
              <a:gd name="T112" fmla="*/ 685 w 720"/>
              <a:gd name="T113" fmla="*/ 205 h 721"/>
              <a:gd name="T114" fmla="*/ 626 w 720"/>
              <a:gd name="T115" fmla="*/ 119 h 721"/>
              <a:gd name="T116" fmla="*/ 547 w 720"/>
              <a:gd name="T117" fmla="*/ 52 h 721"/>
              <a:gd name="T118" fmla="*/ 450 w 720"/>
              <a:gd name="T119" fmla="*/ 12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20" h="721">
                <a:moveTo>
                  <a:pt x="610" y="585"/>
                </a:moveTo>
                <a:lnTo>
                  <a:pt x="594" y="578"/>
                </a:lnTo>
                <a:lnTo>
                  <a:pt x="571" y="568"/>
                </a:lnTo>
                <a:lnTo>
                  <a:pt x="539" y="558"/>
                </a:lnTo>
                <a:lnTo>
                  <a:pt x="499" y="542"/>
                </a:lnTo>
                <a:lnTo>
                  <a:pt x="482" y="537"/>
                </a:lnTo>
                <a:lnTo>
                  <a:pt x="466" y="531"/>
                </a:lnTo>
                <a:lnTo>
                  <a:pt x="449" y="524"/>
                </a:lnTo>
                <a:lnTo>
                  <a:pt x="432" y="519"/>
                </a:lnTo>
                <a:lnTo>
                  <a:pt x="432" y="459"/>
                </a:lnTo>
                <a:lnTo>
                  <a:pt x="439" y="455"/>
                </a:lnTo>
                <a:lnTo>
                  <a:pt x="445" y="450"/>
                </a:lnTo>
                <a:lnTo>
                  <a:pt x="453" y="442"/>
                </a:lnTo>
                <a:lnTo>
                  <a:pt x="459" y="433"/>
                </a:lnTo>
                <a:lnTo>
                  <a:pt x="466" y="422"/>
                </a:lnTo>
                <a:lnTo>
                  <a:pt x="471" y="406"/>
                </a:lnTo>
                <a:lnTo>
                  <a:pt x="476" y="390"/>
                </a:lnTo>
                <a:lnTo>
                  <a:pt x="477" y="370"/>
                </a:lnTo>
                <a:lnTo>
                  <a:pt x="481" y="368"/>
                </a:lnTo>
                <a:lnTo>
                  <a:pt x="485" y="364"/>
                </a:lnTo>
                <a:lnTo>
                  <a:pt x="488" y="361"/>
                </a:lnTo>
                <a:lnTo>
                  <a:pt x="490" y="357"/>
                </a:lnTo>
                <a:lnTo>
                  <a:pt x="493" y="351"/>
                </a:lnTo>
                <a:lnTo>
                  <a:pt x="495" y="345"/>
                </a:lnTo>
                <a:lnTo>
                  <a:pt x="497" y="338"/>
                </a:lnTo>
                <a:lnTo>
                  <a:pt x="497" y="331"/>
                </a:lnTo>
                <a:lnTo>
                  <a:pt x="495" y="318"/>
                </a:lnTo>
                <a:lnTo>
                  <a:pt x="493" y="307"/>
                </a:lnTo>
                <a:lnTo>
                  <a:pt x="490" y="302"/>
                </a:lnTo>
                <a:lnTo>
                  <a:pt x="488" y="298"/>
                </a:lnTo>
                <a:lnTo>
                  <a:pt x="484" y="295"/>
                </a:lnTo>
                <a:lnTo>
                  <a:pt x="480" y="292"/>
                </a:lnTo>
                <a:lnTo>
                  <a:pt x="481" y="292"/>
                </a:lnTo>
                <a:lnTo>
                  <a:pt x="481" y="291"/>
                </a:lnTo>
                <a:lnTo>
                  <a:pt x="488" y="270"/>
                </a:lnTo>
                <a:lnTo>
                  <a:pt x="493" y="246"/>
                </a:lnTo>
                <a:lnTo>
                  <a:pt x="495" y="232"/>
                </a:lnTo>
                <a:lnTo>
                  <a:pt x="495" y="219"/>
                </a:lnTo>
                <a:lnTo>
                  <a:pt x="495" y="205"/>
                </a:lnTo>
                <a:lnTo>
                  <a:pt x="493" y="191"/>
                </a:lnTo>
                <a:lnTo>
                  <a:pt x="490" y="184"/>
                </a:lnTo>
                <a:lnTo>
                  <a:pt x="486" y="178"/>
                </a:lnTo>
                <a:lnTo>
                  <a:pt x="482" y="171"/>
                </a:lnTo>
                <a:lnTo>
                  <a:pt x="477" y="165"/>
                </a:lnTo>
                <a:lnTo>
                  <a:pt x="472" y="161"/>
                </a:lnTo>
                <a:lnTo>
                  <a:pt x="466" y="156"/>
                </a:lnTo>
                <a:lnTo>
                  <a:pt x="458" y="152"/>
                </a:lnTo>
                <a:lnTo>
                  <a:pt x="450" y="148"/>
                </a:lnTo>
                <a:lnTo>
                  <a:pt x="434" y="143"/>
                </a:lnTo>
                <a:lnTo>
                  <a:pt x="417" y="139"/>
                </a:lnTo>
                <a:lnTo>
                  <a:pt x="400" y="137"/>
                </a:lnTo>
                <a:lnTo>
                  <a:pt x="382" y="137"/>
                </a:lnTo>
                <a:lnTo>
                  <a:pt x="367" y="137"/>
                </a:lnTo>
                <a:lnTo>
                  <a:pt x="351" y="139"/>
                </a:lnTo>
                <a:lnTo>
                  <a:pt x="335" y="142"/>
                </a:lnTo>
                <a:lnTo>
                  <a:pt x="321" y="147"/>
                </a:lnTo>
                <a:lnTo>
                  <a:pt x="306" y="152"/>
                </a:lnTo>
                <a:lnTo>
                  <a:pt x="294" y="160"/>
                </a:lnTo>
                <a:lnTo>
                  <a:pt x="288" y="165"/>
                </a:lnTo>
                <a:lnTo>
                  <a:pt x="283" y="170"/>
                </a:lnTo>
                <a:lnTo>
                  <a:pt x="279" y="175"/>
                </a:lnTo>
                <a:lnTo>
                  <a:pt x="276" y="180"/>
                </a:lnTo>
                <a:lnTo>
                  <a:pt x="269" y="180"/>
                </a:lnTo>
                <a:lnTo>
                  <a:pt x="262" y="182"/>
                </a:lnTo>
                <a:lnTo>
                  <a:pt x="256" y="183"/>
                </a:lnTo>
                <a:lnTo>
                  <a:pt x="251" y="184"/>
                </a:lnTo>
                <a:lnTo>
                  <a:pt x="244" y="189"/>
                </a:lnTo>
                <a:lnTo>
                  <a:pt x="237" y="196"/>
                </a:lnTo>
                <a:lnTo>
                  <a:pt x="235" y="201"/>
                </a:lnTo>
                <a:lnTo>
                  <a:pt x="232" y="206"/>
                </a:lnTo>
                <a:lnTo>
                  <a:pt x="231" y="211"/>
                </a:lnTo>
                <a:lnTo>
                  <a:pt x="229" y="218"/>
                </a:lnTo>
                <a:lnTo>
                  <a:pt x="228" y="230"/>
                </a:lnTo>
                <a:lnTo>
                  <a:pt x="229" y="243"/>
                </a:lnTo>
                <a:lnTo>
                  <a:pt x="233" y="269"/>
                </a:lnTo>
                <a:lnTo>
                  <a:pt x="240" y="291"/>
                </a:lnTo>
                <a:lnTo>
                  <a:pt x="240" y="292"/>
                </a:lnTo>
                <a:lnTo>
                  <a:pt x="240" y="292"/>
                </a:lnTo>
                <a:lnTo>
                  <a:pt x="236" y="295"/>
                </a:lnTo>
                <a:lnTo>
                  <a:pt x="232" y="298"/>
                </a:lnTo>
                <a:lnTo>
                  <a:pt x="229" y="302"/>
                </a:lnTo>
                <a:lnTo>
                  <a:pt x="227" y="307"/>
                </a:lnTo>
                <a:lnTo>
                  <a:pt x="224" y="318"/>
                </a:lnTo>
                <a:lnTo>
                  <a:pt x="223" y="331"/>
                </a:lnTo>
                <a:lnTo>
                  <a:pt x="223" y="337"/>
                </a:lnTo>
                <a:lnTo>
                  <a:pt x="224" y="343"/>
                </a:lnTo>
                <a:lnTo>
                  <a:pt x="226" y="350"/>
                </a:lnTo>
                <a:lnTo>
                  <a:pt x="228" y="355"/>
                </a:lnTo>
                <a:lnTo>
                  <a:pt x="231" y="360"/>
                </a:lnTo>
                <a:lnTo>
                  <a:pt x="235" y="364"/>
                </a:lnTo>
                <a:lnTo>
                  <a:pt x="237" y="368"/>
                </a:lnTo>
                <a:lnTo>
                  <a:pt x="242" y="370"/>
                </a:lnTo>
                <a:lnTo>
                  <a:pt x="244" y="390"/>
                </a:lnTo>
                <a:lnTo>
                  <a:pt x="249" y="406"/>
                </a:lnTo>
                <a:lnTo>
                  <a:pt x="254" y="422"/>
                </a:lnTo>
                <a:lnTo>
                  <a:pt x="260" y="433"/>
                </a:lnTo>
                <a:lnTo>
                  <a:pt x="267" y="442"/>
                </a:lnTo>
                <a:lnTo>
                  <a:pt x="274" y="450"/>
                </a:lnTo>
                <a:lnTo>
                  <a:pt x="281" y="455"/>
                </a:lnTo>
                <a:lnTo>
                  <a:pt x="287" y="459"/>
                </a:lnTo>
                <a:lnTo>
                  <a:pt x="287" y="519"/>
                </a:lnTo>
                <a:lnTo>
                  <a:pt x="272" y="524"/>
                </a:lnTo>
                <a:lnTo>
                  <a:pt x="256" y="530"/>
                </a:lnTo>
                <a:lnTo>
                  <a:pt x="241" y="535"/>
                </a:lnTo>
                <a:lnTo>
                  <a:pt x="226" y="540"/>
                </a:lnTo>
                <a:lnTo>
                  <a:pt x="193" y="550"/>
                </a:lnTo>
                <a:lnTo>
                  <a:pt x="161" y="562"/>
                </a:lnTo>
                <a:lnTo>
                  <a:pt x="133" y="573"/>
                </a:lnTo>
                <a:lnTo>
                  <a:pt x="110" y="586"/>
                </a:lnTo>
                <a:lnTo>
                  <a:pt x="100" y="573"/>
                </a:lnTo>
                <a:lnTo>
                  <a:pt x="89" y="562"/>
                </a:lnTo>
                <a:lnTo>
                  <a:pt x="80" y="549"/>
                </a:lnTo>
                <a:lnTo>
                  <a:pt x="73" y="536"/>
                </a:lnTo>
                <a:lnTo>
                  <a:pt x="65" y="523"/>
                </a:lnTo>
                <a:lnTo>
                  <a:pt x="57" y="509"/>
                </a:lnTo>
                <a:lnTo>
                  <a:pt x="51" y="495"/>
                </a:lnTo>
                <a:lnTo>
                  <a:pt x="46" y="481"/>
                </a:lnTo>
                <a:lnTo>
                  <a:pt x="41" y="467"/>
                </a:lnTo>
                <a:lnTo>
                  <a:pt x="35" y="453"/>
                </a:lnTo>
                <a:lnTo>
                  <a:pt x="32" y="437"/>
                </a:lnTo>
                <a:lnTo>
                  <a:pt x="29" y="422"/>
                </a:lnTo>
                <a:lnTo>
                  <a:pt x="26" y="408"/>
                </a:lnTo>
                <a:lnTo>
                  <a:pt x="25" y="392"/>
                </a:lnTo>
                <a:lnTo>
                  <a:pt x="24" y="377"/>
                </a:lnTo>
                <a:lnTo>
                  <a:pt x="23" y="360"/>
                </a:lnTo>
                <a:lnTo>
                  <a:pt x="24" y="343"/>
                </a:lnTo>
                <a:lnTo>
                  <a:pt x="25" y="327"/>
                </a:lnTo>
                <a:lnTo>
                  <a:pt x="26" y="310"/>
                </a:lnTo>
                <a:lnTo>
                  <a:pt x="30" y="293"/>
                </a:lnTo>
                <a:lnTo>
                  <a:pt x="34" y="277"/>
                </a:lnTo>
                <a:lnTo>
                  <a:pt x="38" y="261"/>
                </a:lnTo>
                <a:lnTo>
                  <a:pt x="43" y="244"/>
                </a:lnTo>
                <a:lnTo>
                  <a:pt x="50" y="230"/>
                </a:lnTo>
                <a:lnTo>
                  <a:pt x="56" y="215"/>
                </a:lnTo>
                <a:lnTo>
                  <a:pt x="64" y="201"/>
                </a:lnTo>
                <a:lnTo>
                  <a:pt x="71" y="187"/>
                </a:lnTo>
                <a:lnTo>
                  <a:pt x="80" y="173"/>
                </a:lnTo>
                <a:lnTo>
                  <a:pt x="91" y="160"/>
                </a:lnTo>
                <a:lnTo>
                  <a:pt x="100" y="147"/>
                </a:lnTo>
                <a:lnTo>
                  <a:pt x="111" y="134"/>
                </a:lnTo>
                <a:lnTo>
                  <a:pt x="122" y="122"/>
                </a:lnTo>
                <a:lnTo>
                  <a:pt x="133" y="112"/>
                </a:lnTo>
                <a:lnTo>
                  <a:pt x="146" y="101"/>
                </a:lnTo>
                <a:lnTo>
                  <a:pt x="159" y="92"/>
                </a:lnTo>
                <a:lnTo>
                  <a:pt x="172" y="81"/>
                </a:lnTo>
                <a:lnTo>
                  <a:pt x="186" y="72"/>
                </a:lnTo>
                <a:lnTo>
                  <a:pt x="200" y="65"/>
                </a:lnTo>
                <a:lnTo>
                  <a:pt x="214" y="57"/>
                </a:lnTo>
                <a:lnTo>
                  <a:pt x="229" y="51"/>
                </a:lnTo>
                <a:lnTo>
                  <a:pt x="244" y="44"/>
                </a:lnTo>
                <a:lnTo>
                  <a:pt x="260" y="39"/>
                </a:lnTo>
                <a:lnTo>
                  <a:pt x="276" y="35"/>
                </a:lnTo>
                <a:lnTo>
                  <a:pt x="292" y="31"/>
                </a:lnTo>
                <a:lnTo>
                  <a:pt x="309" y="27"/>
                </a:lnTo>
                <a:lnTo>
                  <a:pt x="326" y="26"/>
                </a:lnTo>
                <a:lnTo>
                  <a:pt x="342" y="25"/>
                </a:lnTo>
                <a:lnTo>
                  <a:pt x="359" y="24"/>
                </a:lnTo>
                <a:lnTo>
                  <a:pt x="377" y="25"/>
                </a:lnTo>
                <a:lnTo>
                  <a:pt x="394" y="26"/>
                </a:lnTo>
                <a:lnTo>
                  <a:pt x="410" y="27"/>
                </a:lnTo>
                <a:lnTo>
                  <a:pt x="427" y="31"/>
                </a:lnTo>
                <a:lnTo>
                  <a:pt x="444" y="35"/>
                </a:lnTo>
                <a:lnTo>
                  <a:pt x="459" y="39"/>
                </a:lnTo>
                <a:lnTo>
                  <a:pt x="475" y="44"/>
                </a:lnTo>
                <a:lnTo>
                  <a:pt x="490" y="51"/>
                </a:lnTo>
                <a:lnTo>
                  <a:pt x="506" y="57"/>
                </a:lnTo>
                <a:lnTo>
                  <a:pt x="520" y="65"/>
                </a:lnTo>
                <a:lnTo>
                  <a:pt x="534" y="72"/>
                </a:lnTo>
                <a:lnTo>
                  <a:pt x="548" y="81"/>
                </a:lnTo>
                <a:lnTo>
                  <a:pt x="561" y="92"/>
                </a:lnTo>
                <a:lnTo>
                  <a:pt x="574" y="101"/>
                </a:lnTo>
                <a:lnTo>
                  <a:pt x="586" y="112"/>
                </a:lnTo>
                <a:lnTo>
                  <a:pt x="598" y="122"/>
                </a:lnTo>
                <a:lnTo>
                  <a:pt x="608" y="134"/>
                </a:lnTo>
                <a:lnTo>
                  <a:pt x="620" y="147"/>
                </a:lnTo>
                <a:lnTo>
                  <a:pt x="629" y="160"/>
                </a:lnTo>
                <a:lnTo>
                  <a:pt x="639" y="173"/>
                </a:lnTo>
                <a:lnTo>
                  <a:pt x="648" y="187"/>
                </a:lnTo>
                <a:lnTo>
                  <a:pt x="656" y="201"/>
                </a:lnTo>
                <a:lnTo>
                  <a:pt x="663" y="215"/>
                </a:lnTo>
                <a:lnTo>
                  <a:pt x="670" y="230"/>
                </a:lnTo>
                <a:lnTo>
                  <a:pt x="676" y="244"/>
                </a:lnTo>
                <a:lnTo>
                  <a:pt x="681" y="261"/>
                </a:lnTo>
                <a:lnTo>
                  <a:pt x="685" y="277"/>
                </a:lnTo>
                <a:lnTo>
                  <a:pt x="689" y="293"/>
                </a:lnTo>
                <a:lnTo>
                  <a:pt x="692" y="310"/>
                </a:lnTo>
                <a:lnTo>
                  <a:pt x="694" y="327"/>
                </a:lnTo>
                <a:lnTo>
                  <a:pt x="696" y="343"/>
                </a:lnTo>
                <a:lnTo>
                  <a:pt x="697" y="360"/>
                </a:lnTo>
                <a:lnTo>
                  <a:pt x="696" y="377"/>
                </a:lnTo>
                <a:lnTo>
                  <a:pt x="694" y="392"/>
                </a:lnTo>
                <a:lnTo>
                  <a:pt x="693" y="408"/>
                </a:lnTo>
                <a:lnTo>
                  <a:pt x="690" y="422"/>
                </a:lnTo>
                <a:lnTo>
                  <a:pt x="688" y="437"/>
                </a:lnTo>
                <a:lnTo>
                  <a:pt x="684" y="453"/>
                </a:lnTo>
                <a:lnTo>
                  <a:pt x="679" y="467"/>
                </a:lnTo>
                <a:lnTo>
                  <a:pt x="674" y="481"/>
                </a:lnTo>
                <a:lnTo>
                  <a:pt x="669" y="495"/>
                </a:lnTo>
                <a:lnTo>
                  <a:pt x="662" y="509"/>
                </a:lnTo>
                <a:lnTo>
                  <a:pt x="654" y="523"/>
                </a:lnTo>
                <a:lnTo>
                  <a:pt x="647" y="536"/>
                </a:lnTo>
                <a:lnTo>
                  <a:pt x="639" y="549"/>
                </a:lnTo>
                <a:lnTo>
                  <a:pt x="630" y="562"/>
                </a:lnTo>
                <a:lnTo>
                  <a:pt x="620" y="573"/>
                </a:lnTo>
                <a:lnTo>
                  <a:pt x="610" y="585"/>
                </a:lnTo>
                <a:close/>
                <a:moveTo>
                  <a:pt x="359" y="0"/>
                </a:moveTo>
                <a:lnTo>
                  <a:pt x="341" y="0"/>
                </a:lnTo>
                <a:lnTo>
                  <a:pt x="323" y="2"/>
                </a:lnTo>
                <a:lnTo>
                  <a:pt x="305" y="4"/>
                </a:lnTo>
                <a:lnTo>
                  <a:pt x="287" y="7"/>
                </a:lnTo>
                <a:lnTo>
                  <a:pt x="269" y="12"/>
                </a:lnTo>
                <a:lnTo>
                  <a:pt x="253" y="16"/>
                </a:lnTo>
                <a:lnTo>
                  <a:pt x="236" y="22"/>
                </a:lnTo>
                <a:lnTo>
                  <a:pt x="219" y="29"/>
                </a:lnTo>
                <a:lnTo>
                  <a:pt x="204" y="35"/>
                </a:lnTo>
                <a:lnTo>
                  <a:pt x="188" y="44"/>
                </a:lnTo>
                <a:lnTo>
                  <a:pt x="173" y="52"/>
                </a:lnTo>
                <a:lnTo>
                  <a:pt x="159" y="62"/>
                </a:lnTo>
                <a:lnTo>
                  <a:pt x="145" y="72"/>
                </a:lnTo>
                <a:lnTo>
                  <a:pt x="131" y="83"/>
                </a:lnTo>
                <a:lnTo>
                  <a:pt x="118" y="94"/>
                </a:lnTo>
                <a:lnTo>
                  <a:pt x="105" y="106"/>
                </a:lnTo>
                <a:lnTo>
                  <a:pt x="93" y="119"/>
                </a:lnTo>
                <a:lnTo>
                  <a:pt x="82" y="131"/>
                </a:lnTo>
                <a:lnTo>
                  <a:pt x="71" y="146"/>
                </a:lnTo>
                <a:lnTo>
                  <a:pt x="61" y="160"/>
                </a:lnTo>
                <a:lnTo>
                  <a:pt x="51" y="174"/>
                </a:lnTo>
                <a:lnTo>
                  <a:pt x="43" y="189"/>
                </a:lnTo>
                <a:lnTo>
                  <a:pt x="34" y="205"/>
                </a:lnTo>
                <a:lnTo>
                  <a:pt x="28" y="220"/>
                </a:lnTo>
                <a:lnTo>
                  <a:pt x="21" y="237"/>
                </a:lnTo>
                <a:lnTo>
                  <a:pt x="15" y="253"/>
                </a:lnTo>
                <a:lnTo>
                  <a:pt x="11" y="270"/>
                </a:lnTo>
                <a:lnTo>
                  <a:pt x="6" y="288"/>
                </a:lnTo>
                <a:lnTo>
                  <a:pt x="3" y="306"/>
                </a:lnTo>
                <a:lnTo>
                  <a:pt x="1" y="324"/>
                </a:lnTo>
                <a:lnTo>
                  <a:pt x="0" y="342"/>
                </a:lnTo>
                <a:lnTo>
                  <a:pt x="0" y="360"/>
                </a:lnTo>
                <a:lnTo>
                  <a:pt x="0" y="378"/>
                </a:lnTo>
                <a:lnTo>
                  <a:pt x="1" y="395"/>
                </a:lnTo>
                <a:lnTo>
                  <a:pt x="3" y="413"/>
                </a:lnTo>
                <a:lnTo>
                  <a:pt x="6" y="429"/>
                </a:lnTo>
                <a:lnTo>
                  <a:pt x="10" y="446"/>
                </a:lnTo>
                <a:lnTo>
                  <a:pt x="14" y="463"/>
                </a:lnTo>
                <a:lnTo>
                  <a:pt x="19" y="478"/>
                </a:lnTo>
                <a:lnTo>
                  <a:pt x="25" y="495"/>
                </a:lnTo>
                <a:lnTo>
                  <a:pt x="32" y="510"/>
                </a:lnTo>
                <a:lnTo>
                  <a:pt x="39" y="526"/>
                </a:lnTo>
                <a:lnTo>
                  <a:pt x="47" y="540"/>
                </a:lnTo>
                <a:lnTo>
                  <a:pt x="56" y="555"/>
                </a:lnTo>
                <a:lnTo>
                  <a:pt x="65" y="569"/>
                </a:lnTo>
                <a:lnTo>
                  <a:pt x="75" y="582"/>
                </a:lnTo>
                <a:lnTo>
                  <a:pt x="87" y="596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98" y="609"/>
                </a:lnTo>
                <a:lnTo>
                  <a:pt x="113" y="622"/>
                </a:lnTo>
                <a:lnTo>
                  <a:pt x="127" y="635"/>
                </a:lnTo>
                <a:lnTo>
                  <a:pt x="141" y="645"/>
                </a:lnTo>
                <a:lnTo>
                  <a:pt x="156" y="657"/>
                </a:lnTo>
                <a:lnTo>
                  <a:pt x="172" y="666"/>
                </a:lnTo>
                <a:lnTo>
                  <a:pt x="187" y="676"/>
                </a:lnTo>
                <a:lnTo>
                  <a:pt x="204" y="684"/>
                </a:lnTo>
                <a:lnTo>
                  <a:pt x="220" y="691"/>
                </a:lnTo>
                <a:lnTo>
                  <a:pt x="237" y="698"/>
                </a:lnTo>
                <a:lnTo>
                  <a:pt x="254" y="704"/>
                </a:lnTo>
                <a:lnTo>
                  <a:pt x="272" y="709"/>
                </a:lnTo>
                <a:lnTo>
                  <a:pt x="288" y="713"/>
                </a:lnTo>
                <a:lnTo>
                  <a:pt x="306" y="717"/>
                </a:lnTo>
                <a:lnTo>
                  <a:pt x="324" y="720"/>
                </a:lnTo>
                <a:lnTo>
                  <a:pt x="342" y="721"/>
                </a:lnTo>
                <a:lnTo>
                  <a:pt x="359" y="721"/>
                </a:lnTo>
                <a:lnTo>
                  <a:pt x="377" y="721"/>
                </a:lnTo>
                <a:lnTo>
                  <a:pt x="395" y="720"/>
                </a:lnTo>
                <a:lnTo>
                  <a:pt x="413" y="717"/>
                </a:lnTo>
                <a:lnTo>
                  <a:pt x="431" y="713"/>
                </a:lnTo>
                <a:lnTo>
                  <a:pt x="448" y="709"/>
                </a:lnTo>
                <a:lnTo>
                  <a:pt x="466" y="704"/>
                </a:lnTo>
                <a:lnTo>
                  <a:pt x="482" y="698"/>
                </a:lnTo>
                <a:lnTo>
                  <a:pt x="499" y="691"/>
                </a:lnTo>
                <a:lnTo>
                  <a:pt x="516" y="684"/>
                </a:lnTo>
                <a:lnTo>
                  <a:pt x="532" y="676"/>
                </a:lnTo>
                <a:lnTo>
                  <a:pt x="549" y="666"/>
                </a:lnTo>
                <a:lnTo>
                  <a:pt x="565" y="657"/>
                </a:lnTo>
                <a:lnTo>
                  <a:pt x="579" y="645"/>
                </a:lnTo>
                <a:lnTo>
                  <a:pt x="594" y="635"/>
                </a:lnTo>
                <a:lnTo>
                  <a:pt x="607" y="622"/>
                </a:lnTo>
                <a:lnTo>
                  <a:pt x="621" y="609"/>
                </a:lnTo>
                <a:lnTo>
                  <a:pt x="621" y="609"/>
                </a:lnTo>
                <a:lnTo>
                  <a:pt x="621" y="609"/>
                </a:lnTo>
                <a:lnTo>
                  <a:pt x="633" y="596"/>
                </a:lnTo>
                <a:lnTo>
                  <a:pt x="643" y="584"/>
                </a:lnTo>
                <a:lnTo>
                  <a:pt x="653" y="569"/>
                </a:lnTo>
                <a:lnTo>
                  <a:pt x="663" y="555"/>
                </a:lnTo>
                <a:lnTo>
                  <a:pt x="672" y="540"/>
                </a:lnTo>
                <a:lnTo>
                  <a:pt x="680" y="526"/>
                </a:lnTo>
                <a:lnTo>
                  <a:pt x="688" y="510"/>
                </a:lnTo>
                <a:lnTo>
                  <a:pt x="694" y="495"/>
                </a:lnTo>
                <a:lnTo>
                  <a:pt x="701" y="478"/>
                </a:lnTo>
                <a:lnTo>
                  <a:pt x="706" y="463"/>
                </a:lnTo>
                <a:lnTo>
                  <a:pt x="710" y="446"/>
                </a:lnTo>
                <a:lnTo>
                  <a:pt x="714" y="429"/>
                </a:lnTo>
                <a:lnTo>
                  <a:pt x="716" y="413"/>
                </a:lnTo>
                <a:lnTo>
                  <a:pt x="719" y="395"/>
                </a:lnTo>
                <a:lnTo>
                  <a:pt x="720" y="378"/>
                </a:lnTo>
                <a:lnTo>
                  <a:pt x="720" y="360"/>
                </a:lnTo>
                <a:lnTo>
                  <a:pt x="720" y="342"/>
                </a:lnTo>
                <a:lnTo>
                  <a:pt x="719" y="324"/>
                </a:lnTo>
                <a:lnTo>
                  <a:pt x="716" y="306"/>
                </a:lnTo>
                <a:lnTo>
                  <a:pt x="714" y="288"/>
                </a:lnTo>
                <a:lnTo>
                  <a:pt x="708" y="270"/>
                </a:lnTo>
                <a:lnTo>
                  <a:pt x="705" y="253"/>
                </a:lnTo>
                <a:lnTo>
                  <a:pt x="698" y="237"/>
                </a:lnTo>
                <a:lnTo>
                  <a:pt x="692" y="220"/>
                </a:lnTo>
                <a:lnTo>
                  <a:pt x="685" y="205"/>
                </a:lnTo>
                <a:lnTo>
                  <a:pt x="676" y="189"/>
                </a:lnTo>
                <a:lnTo>
                  <a:pt x="669" y="174"/>
                </a:lnTo>
                <a:lnTo>
                  <a:pt x="658" y="160"/>
                </a:lnTo>
                <a:lnTo>
                  <a:pt x="648" y="146"/>
                </a:lnTo>
                <a:lnTo>
                  <a:pt x="638" y="131"/>
                </a:lnTo>
                <a:lnTo>
                  <a:pt x="626" y="119"/>
                </a:lnTo>
                <a:lnTo>
                  <a:pt x="615" y="106"/>
                </a:lnTo>
                <a:lnTo>
                  <a:pt x="602" y="94"/>
                </a:lnTo>
                <a:lnTo>
                  <a:pt x="589" y="83"/>
                </a:lnTo>
                <a:lnTo>
                  <a:pt x="575" y="72"/>
                </a:lnTo>
                <a:lnTo>
                  <a:pt x="561" y="62"/>
                </a:lnTo>
                <a:lnTo>
                  <a:pt x="547" y="52"/>
                </a:lnTo>
                <a:lnTo>
                  <a:pt x="531" y="44"/>
                </a:lnTo>
                <a:lnTo>
                  <a:pt x="516" y="35"/>
                </a:lnTo>
                <a:lnTo>
                  <a:pt x="500" y="29"/>
                </a:lnTo>
                <a:lnTo>
                  <a:pt x="484" y="22"/>
                </a:lnTo>
                <a:lnTo>
                  <a:pt x="467" y="16"/>
                </a:lnTo>
                <a:lnTo>
                  <a:pt x="450" y="12"/>
                </a:lnTo>
                <a:lnTo>
                  <a:pt x="432" y="7"/>
                </a:lnTo>
                <a:lnTo>
                  <a:pt x="414" y="4"/>
                </a:lnTo>
                <a:lnTo>
                  <a:pt x="396" y="2"/>
                </a:lnTo>
                <a:lnTo>
                  <a:pt x="378" y="0"/>
                </a:lnTo>
                <a:lnTo>
                  <a:pt x="35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23" name="直線接點 22"/>
          <p:cNvCxnSpPr/>
          <p:nvPr/>
        </p:nvCxnSpPr>
        <p:spPr>
          <a:xfrm>
            <a:off x="323532" y="2332855"/>
            <a:ext cx="3105468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字方塊 24"/>
          <p:cNvSpPr txBox="1"/>
          <p:nvPr/>
        </p:nvSpPr>
        <p:spPr>
          <a:xfrm>
            <a:off x="456517" y="1371600"/>
            <a:ext cx="1979900" cy="1015598"/>
          </a:xfrm>
          <a:prstGeom prst="rect">
            <a:avLst/>
          </a:prstGeom>
          <a:noFill/>
        </p:spPr>
        <p:txBody>
          <a:bodyPr wrap="none" lIns="91376" tIns="45688" rIns="91376" bIns="4568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TW" sz="2000" b="1" dirty="0" smtClean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tep3</a:t>
            </a:r>
            <a:endParaRPr lang="en-US" altLang="zh-TW" sz="2000" b="1" dirty="0">
              <a:solidFill>
                <a:srgbClr val="00206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sz="20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綁定電子書權限</a:t>
            </a:r>
            <a:endParaRPr lang="zh-TW" altLang="en-US" sz="20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323532" y="2641024"/>
            <a:ext cx="3105468" cy="3835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rtlCol="0" anchor="ctr"/>
          <a:lstStyle/>
          <a:p>
            <a:pPr algn="ctr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13" name="文字方塊 12"/>
          <p:cNvSpPr txBox="1"/>
          <p:nvPr/>
        </p:nvSpPr>
        <p:spPr>
          <a:xfrm>
            <a:off x="343324" y="2645469"/>
            <a:ext cx="2933276" cy="3647088"/>
          </a:xfrm>
          <a:prstGeom prst="rect">
            <a:avLst/>
          </a:prstGeom>
          <a:noFill/>
        </p:spPr>
        <p:txBody>
          <a:bodyPr wrap="square" lIns="91376" tIns="45688" rIns="91376" bIns="4568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請先</a:t>
            </a:r>
            <a:r>
              <a:rPr lang="zh-TW" altLang="en-US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選擇單位圖書館</a:t>
            </a:r>
            <a:r>
              <a:rPr lang="zh-TW" altLang="en-US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電子書權限綁定方式有</a:t>
            </a:r>
            <a:r>
              <a:rPr lang="en-US" altLang="zh-TW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2</a:t>
            </a:r>
            <a:r>
              <a:rPr lang="zh-TW" altLang="en-US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種：</a:t>
            </a:r>
            <a:endParaRPr lang="en-US" altLang="zh-TW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657" indent="-34265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TW" altLang="en-US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帳密整合：</a:t>
            </a:r>
            <a:endParaRPr lang="en-US" altLang="zh-TW" b="1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請登入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單位圖書館帳密</a:t>
            </a:r>
            <a:endParaRPr lang="en-US" altLang="zh-TW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657" indent="-34265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TW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IP</a:t>
            </a:r>
            <a:r>
              <a:rPr lang="zh-TW" altLang="en-US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認證：</a:t>
            </a:r>
            <a:endParaRPr lang="en-US" altLang="zh-TW" b="1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 請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連接單位</a:t>
            </a:r>
            <a: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WIFI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並</a:t>
            </a:r>
            <a:r>
              <a:rPr lang="zh-TW" altLang="en-US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填</a:t>
            </a:r>
            <a:endParaRPr lang="en-US" altLang="zh-TW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     寫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身分</a:t>
            </a:r>
            <a:r>
              <a:rPr lang="zh-TW" altLang="en-US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資訊</a:t>
            </a:r>
            <a:endParaRPr lang="en-US" altLang="zh-TW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lnSpc>
                <a:spcPct val="150000"/>
              </a:lnSpc>
            </a:pPr>
            <a:r>
              <a:rPr lang="zh-TW" altLang="en-US" sz="1400" dirty="0" smtClean="0">
                <a:solidFill>
                  <a:srgbClr val="FF505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*身分資訊請確實填寫，以免影響圖書館使用統計或活動得獎身分確認</a:t>
            </a:r>
          </a:p>
        </p:txBody>
      </p:sp>
      <p:pic>
        <p:nvPicPr>
          <p:cNvPr id="22" name="Picture 4" descr="https://i.gyazo.com/079745bb4921a6f07edb12686fad6fac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8600" y="4184240"/>
            <a:ext cx="4320000" cy="244516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https://i.gyazo.com/11a765be30fa59114855cdf07f32299b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60"/>
          <a:stretch/>
        </p:blipFill>
        <p:spPr bwMode="auto">
          <a:xfrm>
            <a:off x="4038600" y="1666472"/>
            <a:ext cx="4320000" cy="2253904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矩形 25"/>
          <p:cNvSpPr/>
          <p:nvPr/>
        </p:nvSpPr>
        <p:spPr>
          <a:xfrm>
            <a:off x="7162800" y="1450472"/>
            <a:ext cx="1631003" cy="432000"/>
          </a:xfrm>
          <a:prstGeom prst="rect">
            <a:avLst/>
          </a:prstGeom>
          <a:solidFill>
            <a:schemeClr val="bg1"/>
          </a:solidFill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6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帳密整合登入</a:t>
            </a:r>
            <a:endParaRPr lang="zh-TW" altLang="en-US" sz="16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7360597" y="3962400"/>
            <a:ext cx="1631003" cy="432000"/>
          </a:xfrm>
          <a:prstGeom prst="rect">
            <a:avLst/>
          </a:prstGeom>
          <a:solidFill>
            <a:schemeClr val="bg1"/>
          </a:solidFill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16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P</a:t>
            </a:r>
            <a:r>
              <a:rPr lang="zh-TW" altLang="en-US" sz="1600" b="1" dirty="0" smtClean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認證登入</a:t>
            </a:r>
            <a:endParaRPr lang="zh-TW" altLang="en-US" sz="1600"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4776530" y="2365869"/>
            <a:ext cx="2919670" cy="432000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31" name="矩形 30"/>
          <p:cNvSpPr/>
          <p:nvPr/>
        </p:nvSpPr>
        <p:spPr>
          <a:xfrm>
            <a:off x="4267200" y="4974820"/>
            <a:ext cx="3735174" cy="432000"/>
          </a:xfrm>
          <a:prstGeom prst="rect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cxnSp>
        <p:nvCxnSpPr>
          <p:cNvPr id="32" name="肘形接點 31"/>
          <p:cNvCxnSpPr>
            <a:stCxn id="26" idx="2"/>
            <a:endCxn id="30" idx="3"/>
          </p:cNvCxnSpPr>
          <p:nvPr/>
        </p:nvCxnSpPr>
        <p:spPr>
          <a:xfrm rot="5400000">
            <a:off x="7487553" y="2091119"/>
            <a:ext cx="699397" cy="282102"/>
          </a:xfrm>
          <a:prstGeom prst="bentConnector2">
            <a:avLst/>
          </a:prstGeom>
          <a:ln w="19050">
            <a:solidFill>
              <a:srgbClr val="FF5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肘形接點 32"/>
          <p:cNvCxnSpPr>
            <a:stCxn id="29" idx="2"/>
            <a:endCxn id="31" idx="3"/>
          </p:cNvCxnSpPr>
          <p:nvPr/>
        </p:nvCxnSpPr>
        <p:spPr>
          <a:xfrm rot="5400000">
            <a:off x="7691027" y="4705748"/>
            <a:ext cx="796420" cy="173725"/>
          </a:xfrm>
          <a:prstGeom prst="bentConnector2">
            <a:avLst/>
          </a:prstGeom>
          <a:ln w="19050">
            <a:solidFill>
              <a:srgbClr val="FF5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91222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37</TotalTime>
  <Words>1278</Words>
  <Application>Microsoft Office PowerPoint</Application>
  <PresentationFormat>如螢幕大小 (4:3)</PresentationFormat>
  <Paragraphs>176</Paragraphs>
  <Slides>24</Slides>
  <Notes>5</Notes>
  <HiddenSlides>0</HiddenSlides>
  <MMClips>0</MMClips>
  <ScaleCrop>false</ScaleCrop>
  <HeadingPairs>
    <vt:vector size="4" baseType="variant">
      <vt:variant>
        <vt:lpstr>佈景主題</vt:lpstr>
      </vt:variant>
      <vt:variant>
        <vt:i4>2</vt:i4>
      </vt:variant>
      <vt:variant>
        <vt:lpstr>投影片標題</vt:lpstr>
      </vt:variant>
      <vt:variant>
        <vt:i4>24</vt:i4>
      </vt:variant>
    </vt:vector>
  </HeadingPairs>
  <TitlesOfParts>
    <vt:vector size="26" baseType="lpstr">
      <vt:lpstr>Office 佈景主題</vt:lpstr>
      <vt:lpstr>1_Office 佈景主題</vt:lpstr>
      <vt:lpstr>PowerPoint 簡報</vt:lpstr>
      <vt:lpstr>PowerPoint 簡報</vt:lpstr>
      <vt:lpstr>電子書平台使用流程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電子書平台 功能說明</vt:lpstr>
      <vt:lpstr>電子書平台 功能說明</vt:lpstr>
      <vt:lpstr>電子書平台 功能說明</vt:lpstr>
      <vt:lpstr>電子書平台 功能說明</vt:lpstr>
      <vt:lpstr>電子書平台 功能說明</vt:lpstr>
      <vt:lpstr>電子書平台 功能說明</vt:lpstr>
      <vt:lpstr>電子書平台 功能說明</vt:lpstr>
      <vt:lpstr>電子書平台 功能說明</vt:lpstr>
      <vt:lpstr>電子書平台 功能說明</vt:lpstr>
      <vt:lpstr>電子書平台 功能說明</vt:lpstr>
      <vt:lpstr>閱讀方式</vt:lpstr>
      <vt:lpstr>PC版離線閱讀器</vt:lpstr>
      <vt:lpstr>PowerPoint 簡報</vt:lpstr>
      <vt:lpstr>PowerPoint 簡報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投影片 1</dc:title>
  <dc:creator>K</dc:creator>
  <cp:lastModifiedBy>A00944</cp:lastModifiedBy>
  <cp:revision>211</cp:revision>
  <dcterms:created xsi:type="dcterms:W3CDTF">2018-08-15T07:44:32Z</dcterms:created>
  <dcterms:modified xsi:type="dcterms:W3CDTF">2019-11-18T07:2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7-10-17T00:00:00Z</vt:filetime>
  </property>
  <property fmtid="{D5CDD505-2E9C-101B-9397-08002B2CF9AE}" pid="3" name="Creator">
    <vt:lpwstr>Microsoft® Office PowerPoint® 2007</vt:lpwstr>
  </property>
  <property fmtid="{D5CDD505-2E9C-101B-9397-08002B2CF9AE}" pid="4" name="LastSaved">
    <vt:filetime>2018-08-15T00:00:00Z</vt:filetime>
  </property>
</Properties>
</file>